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notesSlides/notesSlide9.xml" ContentType="application/vnd.openxmlformats-officedocument.presentationml.notesSlide+xml"/>
  <Override PartName="/ppt/tags/tag30.xml" ContentType="application/vnd.openxmlformats-officedocument.presentationml.tags+xml"/>
  <Override PartName="/ppt/notesSlides/notesSlide10.xml" ContentType="application/vnd.openxmlformats-officedocument.presentationml.notesSlide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notesSlides/notesSlide13.xml" ContentType="application/vnd.openxmlformats-officedocument.presentationml.notesSlide+xml"/>
  <Override PartName="/ppt/tags/tag34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80" r:id="rId1"/>
  </p:sldMasterIdLst>
  <p:notesMasterIdLst>
    <p:notesMasterId r:id="rId36"/>
  </p:notesMasterIdLst>
  <p:handoutMasterIdLst>
    <p:handoutMasterId r:id="rId37"/>
  </p:handoutMasterIdLst>
  <p:sldIdLst>
    <p:sldId id="259" r:id="rId2"/>
    <p:sldId id="330" r:id="rId3"/>
    <p:sldId id="297" r:id="rId4"/>
    <p:sldId id="298" r:id="rId5"/>
    <p:sldId id="301" r:id="rId6"/>
    <p:sldId id="302" r:id="rId7"/>
    <p:sldId id="277" r:id="rId8"/>
    <p:sldId id="324" r:id="rId9"/>
    <p:sldId id="311" r:id="rId10"/>
    <p:sldId id="312" r:id="rId11"/>
    <p:sldId id="325" r:id="rId12"/>
    <p:sldId id="323" r:id="rId13"/>
    <p:sldId id="327" r:id="rId14"/>
    <p:sldId id="326" r:id="rId15"/>
    <p:sldId id="319" r:id="rId16"/>
    <p:sldId id="328" r:id="rId17"/>
    <p:sldId id="329" r:id="rId18"/>
    <p:sldId id="305" r:id="rId19"/>
    <p:sldId id="320" r:id="rId20"/>
    <p:sldId id="331" r:id="rId21"/>
    <p:sldId id="304" r:id="rId22"/>
    <p:sldId id="307" r:id="rId23"/>
    <p:sldId id="308" r:id="rId24"/>
    <p:sldId id="340" r:id="rId25"/>
    <p:sldId id="338" r:id="rId26"/>
    <p:sldId id="339" r:id="rId27"/>
    <p:sldId id="313" r:id="rId28"/>
    <p:sldId id="322" r:id="rId29"/>
    <p:sldId id="336" r:id="rId30"/>
    <p:sldId id="332" r:id="rId31"/>
    <p:sldId id="315" r:id="rId32"/>
    <p:sldId id="316" r:id="rId33"/>
    <p:sldId id="317" r:id="rId34"/>
    <p:sldId id="314" r:id="rId35"/>
  </p:sldIdLst>
  <p:sldSz cx="9144000" cy="6858000" type="screen4x3"/>
  <p:notesSz cx="6858000" cy="9144000"/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9DD1"/>
    <a:srgbClr val="E886BE"/>
    <a:srgbClr val="B6FD9D"/>
    <a:srgbClr val="B2FE74"/>
    <a:srgbClr val="7FDAF3"/>
    <a:srgbClr val="8EE4A7"/>
    <a:srgbClr val="F9F9BF"/>
    <a:srgbClr val="F7DAAF"/>
    <a:srgbClr val="A2F6FA"/>
    <a:srgbClr val="414B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7" autoAdjust="0"/>
    <p:restoredTop sz="94660"/>
  </p:normalViewPr>
  <p:slideViewPr>
    <p:cSldViewPr>
      <p:cViewPr varScale="1">
        <p:scale>
          <a:sx n="83" d="100"/>
          <a:sy n="83" d="100"/>
        </p:scale>
        <p:origin x="1454" y="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3"/>
    </p:cViewPr>
  </p:sorterViewPr>
  <p:notesViewPr>
    <p:cSldViewPr>
      <p:cViewPr varScale="1">
        <p:scale>
          <a:sx n="54" d="100"/>
          <a:sy n="54" d="100"/>
        </p:scale>
        <p:origin x="-1914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136022-1F4C-4A7D-A548-AEE4D246AE27}" type="datetimeFigureOut">
              <a:rPr lang="es-AR" smtClean="0"/>
              <a:pPr/>
              <a:t>21/3/2022</a:t>
            </a:fld>
            <a:endParaRPr lang="es-A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70F93E-8B36-4B49-9CB1-2445234E179E}" type="slidenum">
              <a:rPr lang="es-AR" smtClean="0"/>
              <a:pPr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017441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FA95F-464D-4948-A15D-1F87A66DDDD5}" type="datetimeFigureOut">
              <a:rPr lang="es-AR" smtClean="0"/>
              <a:pPr/>
              <a:t>21/3/2022</a:t>
            </a:fld>
            <a:endParaRPr lang="es-AR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2C34E1-EF3F-4B4A-8F19-EBD046C969A7}" type="slidenum">
              <a:rPr lang="es-AR" smtClean="0"/>
              <a:pPr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928430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521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AR" altLang="es-AR" smtClean="0"/>
          </a:p>
        </p:txBody>
      </p:sp>
      <p:sp>
        <p:nvSpPr>
          <p:cNvPr id="2652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B88F3824-001F-4438-B69C-EB432F2EF327}" type="slidenum">
              <a:rPr lang="en-US" altLang="es-AR" sz="1200" smtClean="0">
                <a:latin typeface="Calibri" pitchFamily="34" charset="0"/>
              </a:rPr>
              <a:pPr eaLnBrk="1" hangingPunct="1"/>
              <a:t>5</a:t>
            </a:fld>
            <a:endParaRPr lang="en-US" altLang="es-AR" sz="120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95983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6694BE-E147-4DB3-AF8E-6DEC7D4F707A}" type="slidenum">
              <a:rPr lang="en-US" smtClean="0"/>
              <a:pPr/>
              <a:t>30</a:t>
            </a:fld>
            <a:endParaRPr lang="en-US" smtClean="0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26479087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6694BE-E147-4DB3-AF8E-6DEC7D4F707A}" type="slidenum">
              <a:rPr lang="en-US" smtClean="0"/>
              <a:pPr/>
              <a:t>31</a:t>
            </a:fld>
            <a:endParaRPr lang="en-US" smtClean="0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26479087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6694BE-E147-4DB3-AF8E-6DEC7D4F707A}" type="slidenum">
              <a:rPr lang="en-US" smtClean="0"/>
              <a:pPr/>
              <a:t>32</a:t>
            </a:fld>
            <a:endParaRPr lang="en-US" smtClean="0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12651862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6694BE-E147-4DB3-AF8E-6DEC7D4F707A}" type="slidenum">
              <a:rPr lang="en-US" smtClean="0"/>
              <a:pPr/>
              <a:t>33</a:t>
            </a:fld>
            <a:endParaRPr lang="en-US" smtClean="0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13488610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6694BE-E147-4DB3-AF8E-6DEC7D4F707A}" type="slidenum">
              <a:rPr lang="en-US" smtClean="0"/>
              <a:pPr/>
              <a:t>34</a:t>
            </a:fld>
            <a:endParaRPr lang="en-US" smtClean="0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2705260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521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AR" altLang="es-AR" smtClean="0"/>
          </a:p>
        </p:txBody>
      </p:sp>
      <p:sp>
        <p:nvSpPr>
          <p:cNvPr id="2652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B88F3824-001F-4438-B69C-EB432F2EF327}" type="slidenum">
              <a:rPr lang="en-US" altLang="es-AR" sz="1200" smtClean="0">
                <a:latin typeface="Calibri" pitchFamily="34" charset="0"/>
              </a:rPr>
              <a:pPr eaLnBrk="1" hangingPunct="1"/>
              <a:t>6</a:t>
            </a:fld>
            <a:endParaRPr lang="en-US" altLang="es-AR" sz="120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647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521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AR" altLang="es-AR" smtClean="0"/>
          </a:p>
        </p:txBody>
      </p:sp>
      <p:sp>
        <p:nvSpPr>
          <p:cNvPr id="2652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B88F3824-001F-4438-B69C-EB432F2EF327}" type="slidenum">
              <a:rPr lang="en-US" altLang="es-AR" sz="1200" smtClean="0">
                <a:latin typeface="Calibri" pitchFamily="34" charset="0"/>
              </a:rPr>
              <a:pPr eaLnBrk="1" hangingPunct="1"/>
              <a:t>21</a:t>
            </a:fld>
            <a:endParaRPr lang="en-US" altLang="es-AR" sz="120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94328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00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AR" altLang="es-AR" smtClean="0"/>
          </a:p>
        </p:txBody>
      </p:sp>
      <p:sp>
        <p:nvSpPr>
          <p:cNvPr id="3000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6350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F771A7FF-3F48-4855-9452-86954A9021B4}" type="slidenum">
              <a:rPr lang="en-US" altLang="es-AR" sz="1200" smtClean="0">
                <a:latin typeface="Calibri" pitchFamily="34" charset="0"/>
              </a:rPr>
              <a:pPr eaLnBrk="1" hangingPunct="1"/>
              <a:t>22</a:t>
            </a:fld>
            <a:endParaRPr lang="en-US" altLang="es-AR" sz="120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49947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AutoShap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>
          <a:xfrm>
            <a:off x="686433" y="4343400"/>
            <a:ext cx="5485135" cy="4114800"/>
          </a:xfrm>
          <a:prstGeom prst="rect">
            <a:avLst/>
          </a:prstGeom>
        </p:spPr>
        <p:txBody>
          <a:bodyPr/>
          <a:lstStyle/>
          <a:p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1711818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AutoShap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22651619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6694BE-E147-4DB3-AF8E-6DEC7D4F707A}" type="slidenum">
              <a:rPr lang="en-US" smtClean="0"/>
              <a:pPr/>
              <a:t>26</a:t>
            </a:fld>
            <a:endParaRPr lang="en-US" smtClean="0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864398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6694BE-E147-4DB3-AF8E-6DEC7D4F707A}" type="slidenum">
              <a:rPr lang="en-US" smtClean="0"/>
              <a:pPr/>
              <a:t>27</a:t>
            </a:fld>
            <a:endParaRPr lang="en-US" smtClean="0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31711980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6694BE-E147-4DB3-AF8E-6DEC7D4F707A}" type="slidenum">
              <a:rPr lang="en-US" smtClean="0"/>
              <a:pPr/>
              <a:t>28</a:t>
            </a:fld>
            <a:endParaRPr lang="en-US" smtClean="0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3171198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46ABD-4DC0-445A-9FB2-1B89EC67FDEC}" type="datetime1">
              <a:rPr lang="es-AR" smtClean="0"/>
              <a:pPr/>
              <a:t>21/3/2022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CA2E-1085-4E82-AB5A-FB6B82E86AFD}" type="datetime1">
              <a:rPr lang="es-AR" smtClean="0"/>
              <a:pPr/>
              <a:t>21/3/2022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4D3FF-1912-4E62-AA66-8821DC9BA0F6}" type="datetime1">
              <a:rPr lang="es-AR" smtClean="0"/>
              <a:pPr/>
              <a:t>21/3/2022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9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3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29869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- bullet 4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88000" y="1008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0" y="324000"/>
            <a:ext cx="8560515" cy="6354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3300" b="1" i="0">
                <a:solidFill>
                  <a:srgbClr val="3C3C7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288000" y="1440000"/>
            <a:ext cx="8560515" cy="4475792"/>
          </a:xfrm>
          <a:prstGeom prst="rect">
            <a:avLst/>
          </a:prstGeom>
        </p:spPr>
        <p:txBody>
          <a:bodyPr vert="horz" lIns="0" tIns="0" rIns="0" bIns="0"/>
          <a:lstStyle>
            <a:lvl1pPr marL="272708" marR="0" indent="-272708" algn="l" defTabSz="436333" rtl="0" eaLnBrk="1" fontAlgn="auto" latinLnBrk="0" hangingPunct="1">
              <a:lnSpc>
                <a:spcPts val="2258"/>
              </a:lnSpc>
              <a:spcBef>
                <a:spcPts val="600"/>
              </a:spcBef>
              <a:spcAft>
                <a:spcPts val="600"/>
              </a:spcAft>
              <a:buClr>
                <a:srgbClr val="FC0232"/>
              </a:buClr>
              <a:buSzTx/>
              <a:buFont typeface="Wingdings" pitchFamily="2" charset="2"/>
              <a:buChar char="q"/>
              <a:tabLst/>
              <a:defRPr sz="2000" b="1" i="0" baseline="0">
                <a:solidFill>
                  <a:srgbClr val="4F4C4D"/>
                </a:solidFill>
                <a:latin typeface="Arial"/>
                <a:cs typeface="Arial"/>
              </a:defRPr>
            </a:lvl1pPr>
            <a:lvl2pPr marL="709041" indent="-272708">
              <a:lnSpc>
                <a:spcPts val="2258"/>
              </a:lnSpc>
              <a:spcBef>
                <a:spcPts val="500"/>
              </a:spcBef>
              <a:spcAft>
                <a:spcPts val="600"/>
              </a:spcAft>
              <a:buClr>
                <a:srgbClr val="3C3C7E"/>
              </a:buClr>
              <a:buSzPct val="100000"/>
              <a:buFont typeface="Wingdings" pitchFamily="2" charset="2"/>
              <a:buChar char="§"/>
              <a:defRPr sz="2000" b="0" i="0">
                <a:solidFill>
                  <a:srgbClr val="3C3C7E"/>
                </a:solidFill>
                <a:latin typeface="Arial"/>
                <a:cs typeface="Arial"/>
              </a:defRPr>
            </a:lvl2pPr>
            <a:lvl3pPr marL="1090832" indent="-218167">
              <a:lnSpc>
                <a:spcPts val="2258"/>
              </a:lnSpc>
              <a:spcBef>
                <a:spcPts val="600"/>
              </a:spcBef>
              <a:spcAft>
                <a:spcPts val="0"/>
              </a:spcAft>
              <a:buSzPct val="100000"/>
              <a:buFontTx/>
              <a:buBlip>
                <a:blip r:embed="rId2"/>
              </a:buBlip>
              <a:defRPr sz="1800" b="0" i="0">
                <a:solidFill>
                  <a:srgbClr val="4F4C4D"/>
                </a:solidFill>
                <a:latin typeface="Arial"/>
                <a:cs typeface="Arial"/>
              </a:defRPr>
            </a:lvl3pPr>
            <a:lvl4pPr marL="1525370" indent="-217115">
              <a:lnSpc>
                <a:spcPts val="2258"/>
              </a:lnSpc>
              <a:spcBef>
                <a:spcPts val="600"/>
              </a:spcBef>
              <a:spcAft>
                <a:spcPts val="352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1800" baseline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 sz="1100" b="0"/>
            </a:lvl1pPr>
          </a:lstStyle>
          <a:p>
            <a:fld id="{6D4FCAF6-4CB2-42DD-A63B-93C306D1BC8E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2307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E96B2-3564-48B2-A44A-B14ED59D9916}" type="datetime1">
              <a:rPr lang="es-AR" smtClean="0"/>
              <a:pPr/>
              <a:t>21/3/2022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A0347-952F-472A-A261-94BE68D61388}" type="datetime1">
              <a:rPr lang="es-AR" smtClean="0"/>
              <a:pPr/>
              <a:t>21/3/2022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5F07F-BA98-40C5-BA79-222432BFCE42}" type="datetime1">
              <a:rPr lang="es-AR" smtClean="0"/>
              <a:pPr/>
              <a:t>21/3/2022</a:t>
            </a:fld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31C88-69B3-40DF-9AB3-7126ADC2433E}" type="datetime1">
              <a:rPr lang="es-AR" smtClean="0"/>
              <a:pPr/>
              <a:t>21/3/2022</a:t>
            </a:fld>
            <a:endParaRPr lang="es-AR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49FD5-99A0-44E9-9D58-AD6085AA65B2}" type="datetime1">
              <a:rPr lang="es-AR" smtClean="0"/>
              <a:pPr/>
              <a:t>21/3/2022</a:t>
            </a:fld>
            <a:endParaRPr lang="es-AR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3030B-567D-4444-8509-4F5784E171CA}" type="datetime1">
              <a:rPr lang="es-AR" smtClean="0"/>
              <a:pPr/>
              <a:t>21/3/2022</a:t>
            </a:fld>
            <a:endParaRPr lang="es-AR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31B15A-ADA2-4942-9161-D31D44E05952}" type="datetime1">
              <a:rPr lang="es-AR" smtClean="0"/>
              <a:pPr/>
              <a:t>21/3/2022</a:t>
            </a:fld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4A9FC-AD64-40E7-9193-18621E8C4002}" type="datetime1">
              <a:rPr lang="es-AR" smtClean="0"/>
              <a:pPr/>
              <a:t>21/3/2022</a:t>
            </a:fld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0BB591-DEF4-49D2-AE95-B17DA9634E46}" type="datetime1">
              <a:rPr lang="es-AR" smtClean="0"/>
              <a:pPr/>
              <a:t>21/3/2022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  <p:sldLayoutId id="2147484087" r:id="rId7"/>
    <p:sldLayoutId id="2147484088" r:id="rId8"/>
    <p:sldLayoutId id="2147484089" r:id="rId9"/>
    <p:sldLayoutId id="2147484090" r:id="rId10"/>
    <p:sldLayoutId id="2147484091" r:id="rId11"/>
    <p:sldLayoutId id="2147484094" r:id="rId12"/>
    <p:sldLayoutId id="2147484095" r:id="rId1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notesSlide" Target="../notesSlides/notesSlide4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slideLayout" Target="../slideLayouts/slideLayout12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image" Target="../media/image2.png"/><Relationship Id="rId1" Type="http://schemas.openxmlformats.org/officeDocument/2006/relationships/vmlDrawing" Target="../drawings/vmlDrawing5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10" Type="http://schemas.openxmlformats.org/officeDocument/2006/relationships/tags" Target="../tags/tag20.xml"/><Relationship Id="rId19" Type="http://schemas.openxmlformats.org/officeDocument/2006/relationships/oleObject" Target="../embeddings/oleObject5.bin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7.xml"/><Relationship Id="rId4" Type="http://schemas.openxmlformats.org/officeDocument/2006/relationships/image" Target="../media/image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8.xml"/><Relationship Id="rId4" Type="http://schemas.openxmlformats.org/officeDocument/2006/relationships/image" Target="../media/image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9.xml"/><Relationship Id="rId4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0.xml"/><Relationship Id="rId4" Type="http://schemas.openxmlformats.org/officeDocument/2006/relationships/image" Target="../media/image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1.xml"/><Relationship Id="rId5" Type="http://schemas.openxmlformats.org/officeDocument/2006/relationships/image" Target="../media/image6.emf"/><Relationship Id="rId4" Type="http://schemas.openxmlformats.org/officeDocument/2006/relationships/image" Target="../media/image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2.xml"/><Relationship Id="rId6" Type="http://schemas.openxmlformats.org/officeDocument/2006/relationships/image" Target="../media/image8.emf"/><Relationship Id="rId5" Type="http://schemas.openxmlformats.org/officeDocument/2006/relationships/image" Target="../media/image7.wmf"/><Relationship Id="rId4" Type="http://schemas.openxmlformats.org/officeDocument/2006/relationships/image" Target="../media/image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3.xml"/><Relationship Id="rId5" Type="http://schemas.openxmlformats.org/officeDocument/2006/relationships/image" Target="../media/image9.emf"/><Relationship Id="rId4" Type="http://schemas.openxmlformats.org/officeDocument/2006/relationships/image" Target="../media/image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4.xml"/><Relationship Id="rId5" Type="http://schemas.openxmlformats.org/officeDocument/2006/relationships/image" Target="../media/image10.emf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5.xml"/><Relationship Id="rId10" Type="http://schemas.openxmlformats.org/officeDocument/2006/relationships/image" Target="../media/image2.png"/><Relationship Id="rId4" Type="http://schemas.openxmlformats.org/officeDocument/2006/relationships/tags" Target="../tags/tag4.xml"/><Relationship Id="rId9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9.xml"/><Relationship Id="rId10" Type="http://schemas.openxmlformats.org/officeDocument/2006/relationships/image" Target="../media/image2.png"/><Relationship Id="rId4" Type="http://schemas.openxmlformats.org/officeDocument/2006/relationships/tags" Target="../tags/tag8.xml"/><Relationship Id="rId9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187624" y="1340768"/>
            <a:ext cx="7067128" cy="2481139"/>
          </a:xfrm>
        </p:spPr>
        <p:txBody>
          <a:bodyPr>
            <a:normAutofit/>
          </a:bodyPr>
          <a:lstStyle/>
          <a:p>
            <a:pPr algn="ctr">
              <a:buNone/>
            </a:pPr>
            <a:r>
              <a:rPr lang="es-AR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ción a los estados contables básicos</a:t>
            </a:r>
          </a:p>
          <a:p>
            <a:pPr algn="ctr">
              <a:buNone/>
            </a:pPr>
            <a:endParaRPr lang="es-ES_tradnl" sz="1800" dirty="0" smtClean="0">
              <a:solidFill>
                <a:schemeClr val="tx1">
                  <a:lumMod val="75000"/>
                </a:schemeClr>
              </a:solidFill>
              <a:latin typeface="Lucida Fax" pitchFamily="18" charset="0"/>
            </a:endParaRPr>
          </a:p>
          <a:p>
            <a:pPr algn="ctr">
              <a:buNone/>
            </a:pPr>
            <a:r>
              <a:rPr lang="es-ES_tradnl" sz="1800" b="1" dirty="0" smtClean="0">
                <a:solidFill>
                  <a:schemeClr val="tx1">
                    <a:lumMod val="75000"/>
                  </a:schemeClr>
                </a:solidFill>
                <a:latin typeface="+mj-lt"/>
              </a:rPr>
              <a:t>UNIDAD 3  </a:t>
            </a:r>
            <a:endParaRPr lang="es-AR" sz="1800" b="1" dirty="0" smtClean="0">
              <a:solidFill>
                <a:schemeClr val="tx1">
                  <a:lumMod val="75000"/>
                </a:schemeClr>
              </a:solidFill>
              <a:latin typeface="+mj-lt"/>
            </a:endParaRPr>
          </a:p>
          <a:p>
            <a:pPr algn="ctr">
              <a:buNone/>
            </a:pPr>
            <a:endParaRPr lang="es-AR" sz="4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9 Rectángulo"/>
          <p:cNvSpPr/>
          <p:nvPr/>
        </p:nvSpPr>
        <p:spPr>
          <a:xfrm>
            <a:off x="1475656" y="3501008"/>
            <a:ext cx="669674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/>
            <a:r>
              <a:rPr lang="es-AR" dirty="0" smtClean="0"/>
              <a:t>	Presentación de dos productos básicos de la contabilidad financiera: estado de resultados y estado de situación patrimonial. Criterios clasificatorios del patrimonio. Rubros patrimoniales y rubros de resultados. Ejercicio económico y periodicidad. Estados contables consolidados, separados e individuales. Concepto de empresa en marcha. Concepto de capital de trabajo, liquidez y solvencia. Conceptos de rentabilidad, margen y rotación de activos</a:t>
            </a:r>
            <a:r>
              <a:rPr lang="es-AR" smtClean="0"/>
              <a:t>. </a:t>
            </a:r>
            <a:endParaRPr lang="es-ES_tradnl" dirty="0" smtClean="0"/>
          </a:p>
        </p:txBody>
      </p: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</a:t>
            </a:fld>
            <a:endParaRPr lang="es-AR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5" name="4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0</a:t>
            </a:fld>
            <a:endParaRPr lang="es-AR" dirty="0"/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395536" y="54868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2800" b="1" dirty="0" smtClean="0">
                <a:latin typeface="+mj-lt"/>
                <a:ea typeface="+mj-ea"/>
                <a:cs typeface="+mj-cs"/>
              </a:rPr>
              <a:t>BIENES DE USO (RT Argentinas)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2800" b="1" dirty="0" smtClean="0">
                <a:latin typeface="+mj-lt"/>
                <a:ea typeface="+mj-ea"/>
                <a:cs typeface="+mj-cs"/>
              </a:rPr>
              <a:t>PROPIEDADES, PLANTAS Y EQUIPOS (NIIF)</a:t>
            </a:r>
            <a:endParaRPr kumimoji="0" lang="es-AR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899592" y="1196752"/>
            <a:ext cx="7632848" cy="7017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s-AR" dirty="0" smtClean="0"/>
          </a:p>
          <a:p>
            <a:pPr algn="just">
              <a:buSzPts val="3200"/>
            </a:pPr>
            <a:endParaRPr lang="es-AR" sz="2000" dirty="0" smtClean="0">
              <a:solidFill>
                <a:srgbClr val="000000"/>
              </a:solidFill>
              <a:latin typeface="+mj-lt"/>
            </a:endParaRPr>
          </a:p>
          <a:p>
            <a:pPr algn="just">
              <a:buSzPts val="3200"/>
            </a:pP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Son </a:t>
            </a:r>
            <a:r>
              <a:rPr lang="es-AR" sz="2000" dirty="0" smtClean="0">
                <a:solidFill>
                  <a:srgbClr val="3333CC"/>
                </a:solidFill>
                <a:latin typeface="+mj-lt"/>
              </a:rPr>
              <a:t>activos de larga vida</a:t>
            </a: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 en la empresa, que, a diferencia de la mercadería,  no se mantienen en el activo para su venta sino </a:t>
            </a:r>
            <a:r>
              <a:rPr lang="es-AR" sz="2000" dirty="0" smtClean="0">
                <a:solidFill>
                  <a:srgbClr val="3333CC"/>
                </a:solidFill>
                <a:latin typeface="+mj-lt"/>
              </a:rPr>
              <a:t>para ser utilizados en las operaciones de producción, administración o comercialización.</a:t>
            </a:r>
          </a:p>
          <a:p>
            <a:pPr marL="342900" indent="-342900"/>
            <a:r>
              <a:rPr lang="es-AR" sz="2000" u="sng" dirty="0" smtClean="0"/>
              <a:t>Ejemplos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AR" sz="2000" dirty="0" smtClean="0"/>
              <a:t>Inmuebl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AR" sz="2000" dirty="0" smtClean="0"/>
              <a:t>Terreno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AR" sz="2000" dirty="0" smtClean="0"/>
              <a:t>Edificio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AR" sz="2000" dirty="0" smtClean="0"/>
              <a:t>Rodado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AR" sz="2000" dirty="0" smtClean="0"/>
              <a:t>Maquinaria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AR" sz="2000" dirty="0" smtClean="0"/>
              <a:t>Muebles y Útil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ES" sz="2000" dirty="0" smtClean="0"/>
              <a:t>Equipos de computación</a:t>
            </a:r>
            <a:endParaRPr lang="es-AR" sz="200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es-AR" sz="2000" dirty="0" smtClean="0"/>
              <a:t>Instalacion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AR" sz="2000" dirty="0" smtClean="0"/>
              <a:t>Herramientas y equipo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AR" sz="2000" dirty="0" smtClean="0"/>
              <a:t>Anticipo a proveedores de bienes de uso </a:t>
            </a:r>
            <a:r>
              <a:rPr lang="es-AR" sz="1600" dirty="0" smtClean="0"/>
              <a:t>(En NIIF va en Otros Créditos)</a:t>
            </a:r>
          </a:p>
          <a:p>
            <a:pPr marL="342900" indent="-342900"/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90940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5" name="4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1</a:t>
            </a:fld>
            <a:endParaRPr lang="es-AR" dirty="0"/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395536" y="69269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2800" b="1" dirty="0" smtClean="0">
                <a:latin typeface="+mj-lt"/>
                <a:ea typeface="+mj-ea"/>
                <a:cs typeface="+mj-cs"/>
              </a:rPr>
              <a:t>INVERSIONES</a:t>
            </a:r>
            <a:br>
              <a:rPr lang="es-AR" sz="2800" b="1" dirty="0" smtClean="0">
                <a:latin typeface="+mj-lt"/>
                <a:ea typeface="+mj-ea"/>
                <a:cs typeface="+mj-cs"/>
              </a:rPr>
            </a:br>
            <a:endParaRPr kumimoji="0" lang="es-AR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611560" y="1340768"/>
            <a:ext cx="7848872" cy="7355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endParaRPr lang="es-AR" dirty="0" smtClean="0"/>
          </a:p>
          <a:p>
            <a:pPr marL="342900" indent="-342900"/>
            <a:r>
              <a:rPr lang="es-ES" dirty="0" smtClean="0"/>
              <a:t>      Son las realizadas con </a:t>
            </a:r>
            <a:r>
              <a:rPr lang="es-ES" b="1" dirty="0" smtClean="0"/>
              <a:t>el ánimo de obtener una renta u otro beneficio</a:t>
            </a:r>
            <a:r>
              <a:rPr lang="es-ES" dirty="0" smtClean="0"/>
              <a:t>, explícito o implícito, y que </a:t>
            </a:r>
            <a:r>
              <a:rPr lang="es-ES" b="1" dirty="0" smtClean="0"/>
              <a:t>no forman parte de los activos dedicados a la actividad principal del ente. </a:t>
            </a:r>
          </a:p>
          <a:p>
            <a:pPr marL="342900" indent="-342900"/>
            <a:endParaRPr lang="es-ES" dirty="0"/>
          </a:p>
          <a:p>
            <a:pPr marL="342900" indent="-342900"/>
            <a:r>
              <a:rPr lang="es-ES" dirty="0" smtClean="0"/>
              <a:t>       También lo son las participaciones en otros entes que se mantienen no sólo para obtener una renta.</a:t>
            </a:r>
          </a:p>
          <a:p>
            <a:pPr marL="342900" indent="-342900"/>
            <a:endParaRPr lang="es-ES" dirty="0"/>
          </a:p>
          <a:p>
            <a:pPr marL="342900" indent="-342900"/>
            <a:r>
              <a:rPr lang="es-ES" dirty="0" smtClean="0"/>
              <a:t>        Las inversiones pueden clasificarse en:</a:t>
            </a:r>
          </a:p>
          <a:p>
            <a:pPr marL="342900" indent="-342900"/>
            <a:endParaRPr lang="es-ES" dirty="0"/>
          </a:p>
          <a:p>
            <a:pPr marL="800100" lvl="1" indent="-342900">
              <a:buFont typeface="Arial" pitchFamily="34" charset="0"/>
              <a:buChar char="•"/>
            </a:pPr>
            <a:r>
              <a:rPr lang="es-ES" dirty="0" smtClean="0"/>
              <a:t> Participaciones en otras entidades</a:t>
            </a:r>
          </a:p>
          <a:p>
            <a:pPr marL="1657350" lvl="3" indent="-285750">
              <a:buFontTx/>
              <a:buChar char="-"/>
            </a:pPr>
            <a:r>
              <a:rPr lang="es-ES" dirty="0" smtClean="0"/>
              <a:t>Inversiones financieras en acciones o participaciones sociales</a:t>
            </a:r>
          </a:p>
          <a:p>
            <a:pPr marL="1657350" lvl="3" indent="-285750">
              <a:buFontTx/>
              <a:buChar char="-"/>
            </a:pPr>
            <a:r>
              <a:rPr lang="es-ES" dirty="0" smtClean="0"/>
              <a:t>Inversiones permanentes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s-ES" dirty="0" smtClean="0"/>
              <a:t> Otras inversiones</a:t>
            </a:r>
          </a:p>
          <a:p>
            <a:pPr marL="800100" lvl="1" indent="-342900"/>
            <a:r>
              <a:rPr lang="es-ES" dirty="0" smtClean="0"/>
              <a:t>                    - Asimilables a créditos (préstamos otorgados, plazos fijos, etc.)</a:t>
            </a:r>
          </a:p>
          <a:p>
            <a:pPr marL="800100" lvl="1" indent="-342900"/>
            <a:r>
              <a:rPr lang="es-ES" dirty="0"/>
              <a:t> </a:t>
            </a:r>
            <a:r>
              <a:rPr lang="es-ES" dirty="0" smtClean="0"/>
              <a:t>                   - Inversiones en inmuebles</a:t>
            </a:r>
          </a:p>
          <a:p>
            <a:pPr marL="800100" lvl="1" indent="-342900"/>
            <a:r>
              <a:rPr lang="es-ES" dirty="0" smtClean="0"/>
              <a:t>		            - Inversiones en bienes muebles</a:t>
            </a:r>
          </a:p>
          <a:p>
            <a:pPr marL="342900" indent="-342900"/>
            <a:endParaRPr lang="es-ES" dirty="0" smtClean="0"/>
          </a:p>
          <a:p>
            <a:pPr marL="342900" indent="-342900" algn="just"/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406940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5" name="4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2</a:t>
            </a:fld>
            <a:endParaRPr lang="es-AR" dirty="0"/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395536" y="548680"/>
            <a:ext cx="822960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2800" b="1" dirty="0" smtClean="0">
                <a:latin typeface="+mj-lt"/>
                <a:ea typeface="+mj-ea"/>
                <a:cs typeface="+mj-cs"/>
              </a:rPr>
              <a:t>BIENES INTANGIBLES</a:t>
            </a:r>
            <a:endParaRPr kumimoji="0" lang="es-AR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899592" y="1196752"/>
            <a:ext cx="7632848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s-AR" dirty="0" smtClean="0"/>
          </a:p>
          <a:p>
            <a:pPr algn="just">
              <a:buSzPts val="3200"/>
            </a:pP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Son </a:t>
            </a:r>
            <a:r>
              <a:rPr lang="es-AR" sz="2000" dirty="0" smtClean="0">
                <a:solidFill>
                  <a:srgbClr val="3333CC"/>
                </a:solidFill>
                <a:latin typeface="+mj-lt"/>
              </a:rPr>
              <a:t>activos no monetarios identificables y sin sustancia física.</a:t>
            </a:r>
          </a:p>
          <a:p>
            <a:pPr algn="just">
              <a:buSzPts val="3200"/>
            </a:pPr>
            <a:endParaRPr lang="es-AR" sz="2000" dirty="0" smtClean="0"/>
          </a:p>
          <a:p>
            <a:pPr marL="342900" indent="-342900"/>
            <a:r>
              <a:rPr lang="es-AR" sz="2000" u="sng" dirty="0" smtClean="0"/>
              <a:t>Ejemplos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ES" sz="2000" dirty="0" smtClean="0"/>
              <a:t>Derechos de propiedad intelectual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s-ES" sz="2000" dirty="0" smtClean="0"/>
              <a:t>Patentes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s-ES" sz="2000" dirty="0" smtClean="0"/>
              <a:t>Marcas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s-ES" sz="2000" dirty="0" smtClean="0"/>
              <a:t>Licencia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ES" sz="2000" dirty="0" smtClean="0"/>
              <a:t>Concesion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ES" sz="2000" dirty="0" smtClean="0"/>
              <a:t>Gastos de desarrollo</a:t>
            </a:r>
            <a:endParaRPr lang="es-AR" sz="2000" dirty="0" smtClean="0"/>
          </a:p>
          <a:p>
            <a:pPr marL="342900" indent="-342900"/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799727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5" name="4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3</a:t>
            </a:fld>
            <a:endParaRPr lang="es-AR" dirty="0"/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395536" y="54868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2800" b="1" dirty="0" smtClean="0">
                <a:latin typeface="+mj-lt"/>
                <a:ea typeface="+mj-ea"/>
                <a:cs typeface="+mj-cs"/>
              </a:rPr>
              <a:t>ACTIVOS BIOLÓGICOS</a:t>
            </a:r>
            <a:endParaRPr kumimoji="0" lang="es-AR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899592" y="1196752"/>
            <a:ext cx="7632848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s-AR" dirty="0" smtClean="0"/>
          </a:p>
          <a:p>
            <a:pPr algn="just">
              <a:buSzPts val="3200"/>
            </a:pP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Son animales vivos o plantas.</a:t>
            </a:r>
          </a:p>
          <a:p>
            <a:pPr algn="just">
              <a:buSzPts val="3200"/>
            </a:pPr>
            <a:endParaRPr lang="es-AR" sz="2000" dirty="0">
              <a:solidFill>
                <a:srgbClr val="000000"/>
              </a:solidFill>
              <a:latin typeface="+mj-lt"/>
            </a:endParaRPr>
          </a:p>
          <a:p>
            <a:pPr algn="just">
              <a:buSzPts val="3200"/>
            </a:pP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La transformación biológica comprende el proceso de crecimiento, degeneración, producción y procreación que causa cambios cualitativos o cuantitativos en un activo biológico.</a:t>
            </a:r>
          </a:p>
          <a:p>
            <a:pPr algn="just">
              <a:buSzPts val="3200"/>
            </a:pPr>
            <a:endParaRPr lang="es-AR" sz="2000" dirty="0">
              <a:solidFill>
                <a:srgbClr val="000000"/>
              </a:solidFill>
              <a:latin typeface="+mj-lt"/>
            </a:endParaRPr>
          </a:p>
          <a:p>
            <a:pPr algn="just">
              <a:buSzPts val="3200"/>
            </a:pP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La actividad agrícola es la gestión por una entidad de la transformación biológica y cosecha o recolección de activos biológicos para su venta o para su conversión en producto agrícola o en activos biológicos adicionales.</a:t>
            </a:r>
          </a:p>
          <a:p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1857791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5" name="4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4</a:t>
            </a:fld>
            <a:endParaRPr lang="es-AR" dirty="0"/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395536" y="54868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2800" b="1" dirty="0" smtClean="0">
                <a:latin typeface="+mj-lt"/>
                <a:ea typeface="+mj-ea"/>
                <a:cs typeface="+mj-cs"/>
              </a:rPr>
              <a:t>LLAVE DE NEGOCIO</a:t>
            </a:r>
            <a:endParaRPr kumimoji="0" lang="es-AR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899592" y="1556792"/>
            <a:ext cx="7632848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s-AR" dirty="0" smtClean="0"/>
          </a:p>
          <a:p>
            <a:pPr algn="just">
              <a:buSzPts val="3200"/>
            </a:pPr>
            <a:endParaRPr lang="es-AR" sz="2000" dirty="0" smtClean="0">
              <a:solidFill>
                <a:srgbClr val="000000"/>
              </a:solidFill>
              <a:latin typeface="+mj-lt"/>
            </a:endParaRPr>
          </a:p>
          <a:p>
            <a:pPr>
              <a:buSzPts val="3200"/>
            </a:pP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Es lo que se paga por encima del valor de los bienes identificables al comprar una empresa. </a:t>
            </a:r>
          </a:p>
          <a:p>
            <a:pPr marL="342900" indent="-342900"/>
            <a:endParaRPr lang="es-AR" sz="2000" dirty="0" smtClean="0"/>
          </a:p>
          <a:p>
            <a:pPr marL="342900" indent="-342900"/>
            <a:endParaRPr lang="es-AR" sz="2000" dirty="0" smtClean="0"/>
          </a:p>
          <a:p>
            <a:pPr marL="342900" indent="-342900"/>
            <a:r>
              <a:rPr lang="es-AR" sz="2000" dirty="0" smtClean="0"/>
              <a:t>Es un tipo especial de “bien intangible” que solo puede aparecer</a:t>
            </a:r>
          </a:p>
          <a:p>
            <a:pPr marL="342900" indent="-342900"/>
            <a:r>
              <a:rPr lang="es-AR" sz="2000" dirty="0" smtClean="0"/>
              <a:t>cuando se compra otra compañía.</a:t>
            </a:r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1857791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67544" y="1700808"/>
            <a:ext cx="8229600" cy="4464496"/>
          </a:xfrm>
        </p:spPr>
        <p:txBody>
          <a:bodyPr>
            <a:normAutofit/>
          </a:bodyPr>
          <a:lstStyle/>
          <a:p>
            <a:pPr marL="18288" indent="0">
              <a:buNone/>
            </a:pPr>
            <a:r>
              <a:rPr lang="es-AR" sz="2600" b="1" dirty="0" smtClean="0"/>
              <a:t>RUBROS DEL PASIVO:</a:t>
            </a:r>
          </a:p>
          <a:p>
            <a:pPr marL="18288" indent="0">
              <a:buNone/>
            </a:pPr>
            <a:endParaRPr lang="es-AR" sz="2600" b="1" dirty="0"/>
          </a:p>
          <a:p>
            <a:pPr marL="589788" indent="-571500">
              <a:buFontTx/>
              <a:buChar char="-"/>
            </a:pPr>
            <a:r>
              <a:rPr lang="es-AR" sz="2600" b="1" dirty="0" smtClean="0"/>
              <a:t>Deudas comerciales</a:t>
            </a:r>
          </a:p>
          <a:p>
            <a:pPr marL="589788" indent="-571500">
              <a:buFontTx/>
              <a:buChar char="-"/>
            </a:pPr>
            <a:r>
              <a:rPr lang="es-AR" sz="2600" b="1" dirty="0" smtClean="0"/>
              <a:t>Deudas sociales</a:t>
            </a:r>
          </a:p>
          <a:p>
            <a:pPr marL="589788" indent="-571500">
              <a:buFontTx/>
              <a:buChar char="-"/>
            </a:pPr>
            <a:r>
              <a:rPr lang="es-AR" sz="2600" b="1" dirty="0" smtClean="0"/>
              <a:t>Deudas fiscales</a:t>
            </a:r>
          </a:p>
          <a:p>
            <a:pPr marL="589788" indent="-571500">
              <a:buFontTx/>
              <a:buChar char="-"/>
            </a:pPr>
            <a:r>
              <a:rPr lang="es-AR" sz="2600" b="1" dirty="0" smtClean="0"/>
              <a:t>Deudas financieras (Préstamos)</a:t>
            </a:r>
          </a:p>
          <a:p>
            <a:pPr marL="589788" indent="-571500">
              <a:buFontTx/>
              <a:buChar char="-"/>
            </a:pPr>
            <a:r>
              <a:rPr lang="es-AR" sz="2600" b="1" dirty="0" smtClean="0"/>
              <a:t>Otras deudas</a:t>
            </a:r>
          </a:p>
          <a:p>
            <a:pPr marL="589788" indent="-571500">
              <a:buFontTx/>
              <a:buChar char="-"/>
            </a:pPr>
            <a:r>
              <a:rPr lang="es-AR" sz="2600" b="1" dirty="0" smtClean="0"/>
              <a:t>Previsiones</a:t>
            </a:r>
          </a:p>
          <a:p>
            <a:pPr marL="589788" indent="-571500">
              <a:buFontTx/>
              <a:buChar char="-"/>
            </a:pPr>
            <a:endParaRPr lang="es-AR" sz="4000" dirty="0" smtClean="0"/>
          </a:p>
          <a:p>
            <a:pPr marL="18288" indent="0">
              <a:buNone/>
            </a:pPr>
            <a:endParaRPr lang="es-AR" sz="4000" dirty="0" smtClean="0"/>
          </a:p>
          <a:p>
            <a:endParaRPr lang="es-ES_tradnl" dirty="0" smtClean="0"/>
          </a:p>
          <a:p>
            <a:endParaRPr lang="es-AR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15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Rectángulo"/>
          <p:cNvSpPr/>
          <p:nvPr/>
        </p:nvSpPr>
        <p:spPr>
          <a:xfrm>
            <a:off x="1639974" y="1052736"/>
            <a:ext cx="574490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_tradnl" sz="2800" b="1" dirty="0" smtClean="0"/>
              <a:t>ESTADO DE SITUACIÓN PATRIMONIAL</a:t>
            </a:r>
            <a:endParaRPr lang="es-AR" sz="2800" b="1" dirty="0"/>
          </a:p>
        </p:txBody>
      </p:sp>
      <p:sp>
        <p:nvSpPr>
          <p:cNvPr id="12" name="11 Rectángulo"/>
          <p:cNvSpPr/>
          <p:nvPr/>
        </p:nvSpPr>
        <p:spPr>
          <a:xfrm>
            <a:off x="3923928" y="26064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r"/>
            <a:r>
              <a:rPr lang="es-ES_tradnl" sz="1200" dirty="0" smtClean="0"/>
              <a:t>Naturaleza, objetivos y metodología de la información contable</a:t>
            </a:r>
          </a:p>
        </p:txBody>
      </p:sp>
    </p:spTree>
    <p:extLst>
      <p:ext uri="{BB962C8B-B14F-4D97-AF65-F5344CB8AC3E}">
        <p14:creationId xmlns:p14="http://schemas.microsoft.com/office/powerpoint/2010/main" val="2317024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5" name="4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6</a:t>
            </a:fld>
            <a:endParaRPr lang="es-AR" dirty="0"/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395536" y="54868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800" b="1" noProof="0" dirty="0" smtClean="0">
                <a:latin typeface="+mj-lt"/>
                <a:ea typeface="+mj-ea"/>
                <a:cs typeface="+mj-cs"/>
              </a:rPr>
              <a:t>DEUDAS</a:t>
            </a:r>
            <a:endParaRPr kumimoji="0" lang="es-AR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899592" y="1196752"/>
            <a:ext cx="7632848" cy="5786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s-AR" dirty="0" smtClean="0"/>
          </a:p>
          <a:p>
            <a:pPr algn="just">
              <a:buSzPts val="3200"/>
            </a:pP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Son obligaciones ciertas, determinadas o determinables.</a:t>
            </a:r>
          </a:p>
          <a:p>
            <a:pPr algn="just">
              <a:buSzPts val="3200"/>
            </a:pPr>
            <a:endParaRPr lang="es-AR" sz="2000" dirty="0" smtClean="0">
              <a:solidFill>
                <a:srgbClr val="000000"/>
              </a:solidFill>
              <a:latin typeface="+mj-lt"/>
            </a:endParaRPr>
          </a:p>
          <a:p>
            <a:pPr algn="just">
              <a:buSzPct val="95000"/>
            </a:pPr>
            <a:endParaRPr lang="es-AR" sz="2000" dirty="0">
              <a:solidFill>
                <a:srgbClr val="000000"/>
              </a:solidFill>
              <a:latin typeface="+mj-lt"/>
            </a:endParaRPr>
          </a:p>
          <a:p>
            <a:pPr algn="just">
              <a:buSzPct val="95000"/>
              <a:buFont typeface="Wingdings" pitchFamily="2" charset="2"/>
              <a:buChar char="ü"/>
            </a:pP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Comerciales: derivadas de las actividades operativas de compra de bienes o servicios vinculados al negocio del ente.</a:t>
            </a:r>
          </a:p>
          <a:p>
            <a:pPr algn="just">
              <a:buSzPct val="95000"/>
              <a:buFont typeface="Wingdings" pitchFamily="2" charset="2"/>
              <a:buChar char="ü"/>
            </a:pPr>
            <a:endParaRPr lang="es-AR" sz="2000" dirty="0">
              <a:solidFill>
                <a:srgbClr val="000000"/>
              </a:solidFill>
              <a:latin typeface="+mj-lt"/>
            </a:endParaRPr>
          </a:p>
          <a:p>
            <a:pPr algn="just">
              <a:buSzPct val="95000"/>
              <a:buFont typeface="Wingdings" pitchFamily="2" charset="2"/>
              <a:buChar char="ü"/>
            </a:pP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Sociales: </a:t>
            </a:r>
            <a:r>
              <a:rPr lang="es-AR" sz="2000" dirty="0" smtClean="0">
                <a:solidFill>
                  <a:srgbClr val="000000"/>
                </a:solidFill>
              </a:rPr>
              <a:t>relacionadas con lo adeudado por sueldos y cargas sociales.</a:t>
            </a:r>
            <a:endParaRPr lang="es-AR" sz="2000" dirty="0" smtClean="0">
              <a:solidFill>
                <a:srgbClr val="000000"/>
              </a:solidFill>
              <a:latin typeface="+mj-lt"/>
            </a:endParaRPr>
          </a:p>
          <a:p>
            <a:pPr algn="just">
              <a:buSzPct val="95000"/>
              <a:buFont typeface="Wingdings" pitchFamily="2" charset="2"/>
              <a:buChar char="ü"/>
            </a:pPr>
            <a:endParaRPr lang="es-AR" sz="2000" dirty="0" smtClean="0">
              <a:solidFill>
                <a:srgbClr val="000000"/>
              </a:solidFill>
              <a:latin typeface="+mj-lt"/>
            </a:endParaRPr>
          </a:p>
          <a:p>
            <a:pPr algn="just">
              <a:buSzPct val="95000"/>
              <a:buFont typeface="Wingdings" pitchFamily="2" charset="2"/>
              <a:buChar char="ü"/>
            </a:pP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Fiscales: relacionadas con lo adeudado por impuestos.</a:t>
            </a:r>
          </a:p>
          <a:p>
            <a:pPr algn="just">
              <a:buSzPct val="95000"/>
              <a:buFont typeface="Wingdings" pitchFamily="2" charset="2"/>
              <a:buChar char="ü"/>
            </a:pPr>
            <a:endParaRPr lang="es-AR" sz="2000" dirty="0">
              <a:solidFill>
                <a:srgbClr val="000000"/>
              </a:solidFill>
              <a:latin typeface="+mj-lt"/>
            </a:endParaRPr>
          </a:p>
          <a:p>
            <a:pPr algn="just">
              <a:buSzPct val="95000"/>
              <a:buFont typeface="Wingdings" pitchFamily="2" charset="2"/>
              <a:buChar char="ü"/>
            </a:pP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Financieras: derivadas de las actividades de financiación.</a:t>
            </a:r>
          </a:p>
          <a:p>
            <a:pPr algn="just">
              <a:buSzPts val="3200"/>
            </a:pPr>
            <a:endParaRPr lang="es-AR" sz="2000" dirty="0">
              <a:solidFill>
                <a:srgbClr val="000000"/>
              </a:solidFill>
              <a:latin typeface="+mj-lt"/>
            </a:endParaRPr>
          </a:p>
          <a:p>
            <a:pPr algn="just">
              <a:buSzPts val="3200"/>
            </a:pPr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2153901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5" name="4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7</a:t>
            </a:fld>
            <a:endParaRPr lang="es-AR" dirty="0"/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395536" y="54868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800" b="1" dirty="0" smtClean="0">
                <a:latin typeface="+mj-lt"/>
                <a:ea typeface="+mj-ea"/>
                <a:cs typeface="+mj-cs"/>
              </a:rPr>
              <a:t>Previsiones</a:t>
            </a:r>
            <a:endParaRPr kumimoji="0" lang="es-AR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899592" y="1196752"/>
            <a:ext cx="7632848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s-AR" dirty="0" smtClean="0"/>
          </a:p>
          <a:p>
            <a:pPr algn="just">
              <a:buSzPts val="3200"/>
            </a:pPr>
            <a:r>
              <a:rPr lang="es-AR" sz="2000" dirty="0" smtClean="0">
                <a:solidFill>
                  <a:srgbClr val="000000"/>
                </a:solidFill>
                <a:latin typeface="+mj-lt"/>
              </a:rPr>
              <a:t>Son obligaciones inciertas, ya sea por el monto o por la efectiva ocurrencia.</a:t>
            </a:r>
          </a:p>
          <a:p>
            <a:pPr algn="just">
              <a:buSzPts val="3200"/>
            </a:pPr>
            <a:endParaRPr lang="es-ES" sz="2000" dirty="0">
              <a:solidFill>
                <a:srgbClr val="000000"/>
              </a:solidFill>
              <a:latin typeface="+mj-lt"/>
            </a:endParaRPr>
          </a:p>
          <a:p>
            <a:pPr algn="just">
              <a:buSzPts val="3200"/>
            </a:pPr>
            <a:r>
              <a:rPr lang="es-ES" sz="2000" dirty="0" smtClean="0">
                <a:solidFill>
                  <a:srgbClr val="000000"/>
                </a:solidFill>
                <a:latin typeface="+mj-lt"/>
              </a:rPr>
              <a:t>La ocurrencia está supeditada a condiciones que es probable (pero no seguro) que ocurran y puede no saberse cuándo.</a:t>
            </a:r>
          </a:p>
          <a:p>
            <a:pPr algn="just">
              <a:buSzPts val="3200"/>
            </a:pPr>
            <a:endParaRPr lang="es-ES" sz="2000" dirty="0">
              <a:solidFill>
                <a:srgbClr val="000000"/>
              </a:solidFill>
              <a:latin typeface="+mj-lt"/>
            </a:endParaRPr>
          </a:p>
          <a:p>
            <a:pPr algn="just">
              <a:buSzPts val="3200"/>
            </a:pPr>
            <a:r>
              <a:rPr lang="es-ES" sz="2000" dirty="0" smtClean="0">
                <a:solidFill>
                  <a:srgbClr val="000000"/>
                </a:solidFill>
                <a:latin typeface="+mj-lt"/>
              </a:rPr>
              <a:t>En la terminología europea, adoptada por algunas empresas que aplican NIIF, se las llama “provisiones”.</a:t>
            </a:r>
          </a:p>
          <a:p>
            <a:pPr algn="just">
              <a:buSzPts val="3200"/>
            </a:pPr>
            <a:r>
              <a:rPr lang="es-ES" sz="2000" dirty="0" smtClean="0">
                <a:solidFill>
                  <a:srgbClr val="000000"/>
                </a:solidFill>
                <a:latin typeface="+mj-lt"/>
              </a:rPr>
              <a:t>En la terminología argentina, “provisiones” tiene otro significado. Ver Unidad 6 parte 2</a:t>
            </a:r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1815467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67544" y="1700808"/>
            <a:ext cx="8229600" cy="4464496"/>
          </a:xfrm>
        </p:spPr>
        <p:txBody>
          <a:bodyPr>
            <a:normAutofit fontScale="77500" lnSpcReduction="20000"/>
          </a:bodyPr>
          <a:lstStyle/>
          <a:p>
            <a:pPr marL="18288" indent="0">
              <a:buNone/>
            </a:pPr>
            <a:r>
              <a:rPr lang="es-AR" sz="3100" b="1" dirty="0" smtClean="0"/>
              <a:t>RUBROS DEL PATRIMONIO NETO</a:t>
            </a:r>
          </a:p>
          <a:p>
            <a:pPr marL="18288" indent="0">
              <a:buNone/>
            </a:pPr>
            <a:endParaRPr lang="es-AR" sz="3600" b="1" dirty="0"/>
          </a:p>
          <a:p>
            <a:pPr marL="589788" indent="-571500">
              <a:buFontTx/>
              <a:buChar char="-"/>
            </a:pPr>
            <a:r>
              <a:rPr lang="es-AR" sz="3100" b="1" dirty="0" smtClean="0"/>
              <a:t>Aportes de los propietarios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/>
              <a:t>Capital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/>
              <a:t>Aportes no capitalizados</a:t>
            </a:r>
          </a:p>
          <a:p>
            <a:pPr marL="589788" indent="-571500">
              <a:buFontTx/>
              <a:buChar char="-"/>
            </a:pPr>
            <a:r>
              <a:rPr lang="es-AR" sz="3100" b="1" dirty="0" smtClean="0"/>
              <a:t>Resultados acumulados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/>
              <a:t>Reservas</a:t>
            </a:r>
          </a:p>
          <a:p>
            <a:pPr marL="1389888" lvl="2" indent="-571500">
              <a:buFontTx/>
              <a:buChar char="-"/>
            </a:pPr>
            <a:r>
              <a:rPr lang="es-AR" b="1" dirty="0" smtClean="0"/>
              <a:t>Reservas legales</a:t>
            </a:r>
          </a:p>
          <a:p>
            <a:pPr marL="1389888" lvl="2" indent="-571500">
              <a:buFontTx/>
              <a:buChar char="-"/>
            </a:pPr>
            <a:r>
              <a:rPr lang="es-AR" b="1" dirty="0" smtClean="0"/>
              <a:t>Reservas estatutarias</a:t>
            </a:r>
          </a:p>
          <a:p>
            <a:pPr marL="1389888" lvl="2" indent="-571500">
              <a:buFontTx/>
              <a:buChar char="-"/>
            </a:pPr>
            <a:r>
              <a:rPr lang="es-AR" b="1" dirty="0" smtClean="0"/>
              <a:t>Reservas facultativas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/>
              <a:t>Resultados no asignados (incluye resultados de ejercicios anteriores no distribuidos y resultado del último ejercicio)</a:t>
            </a:r>
          </a:p>
          <a:p>
            <a:pPr marL="989838" lvl="1" indent="-571500">
              <a:buFontTx/>
              <a:buChar char="-"/>
            </a:pPr>
            <a:endParaRPr lang="es-AR" b="1" dirty="0" smtClean="0"/>
          </a:p>
          <a:p>
            <a:pPr marL="418338" lvl="1" indent="0">
              <a:buNone/>
            </a:pPr>
            <a:endParaRPr lang="es-AR" b="1" dirty="0" smtClean="0"/>
          </a:p>
          <a:p>
            <a:pPr marL="18288" indent="0">
              <a:buNone/>
            </a:pPr>
            <a:endParaRPr lang="es-AR" sz="4000" dirty="0" smtClean="0"/>
          </a:p>
          <a:p>
            <a:endParaRPr lang="es-ES_tradnl" dirty="0" smtClean="0"/>
          </a:p>
          <a:p>
            <a:endParaRPr lang="es-AR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18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Rectángulo"/>
          <p:cNvSpPr/>
          <p:nvPr/>
        </p:nvSpPr>
        <p:spPr>
          <a:xfrm>
            <a:off x="1619672" y="836712"/>
            <a:ext cx="574490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_tradnl" sz="2800" b="1" dirty="0" smtClean="0"/>
              <a:t>ESTADO DE SITUACIÓN PATRIMONIAL</a:t>
            </a:r>
            <a:endParaRPr lang="es-AR" sz="2800" b="1" dirty="0"/>
          </a:p>
        </p:txBody>
      </p:sp>
    </p:spTree>
    <p:extLst>
      <p:ext uri="{BB962C8B-B14F-4D97-AF65-F5344CB8AC3E}">
        <p14:creationId xmlns:p14="http://schemas.microsoft.com/office/powerpoint/2010/main" val="1959434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67544" y="1844824"/>
            <a:ext cx="8229600" cy="4680520"/>
          </a:xfrm>
        </p:spPr>
        <p:txBody>
          <a:bodyPr>
            <a:normAutofit fontScale="70000" lnSpcReduction="20000"/>
          </a:bodyPr>
          <a:lstStyle/>
          <a:p>
            <a:pPr marL="18288" indent="0">
              <a:buNone/>
            </a:pPr>
            <a:r>
              <a:rPr lang="es-AR" sz="3400" b="1" dirty="0" smtClean="0"/>
              <a:t>RUBROS DEL PATRIMONIO NETO</a:t>
            </a:r>
          </a:p>
          <a:p>
            <a:pPr marL="18288" indent="0">
              <a:buNone/>
            </a:pPr>
            <a:endParaRPr lang="es-AR" sz="3600" b="1" dirty="0"/>
          </a:p>
          <a:p>
            <a:pPr marL="589788" indent="-571500">
              <a:buFontTx/>
              <a:buChar char="-"/>
            </a:pPr>
            <a:r>
              <a:rPr lang="es-AR" sz="3600" b="1" dirty="0" smtClean="0"/>
              <a:t>Aportes de los propietarios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/>
              <a:t>Capital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/>
              <a:t>Aportes no capitalizados</a:t>
            </a:r>
          </a:p>
          <a:p>
            <a:pPr marL="589788" indent="-571500">
              <a:buFontTx/>
              <a:buChar char="-"/>
            </a:pPr>
            <a:r>
              <a:rPr lang="es-AR" sz="3600" b="1" dirty="0" smtClean="0"/>
              <a:t>Resultados acumulados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/>
              <a:t>Reservas</a:t>
            </a:r>
          </a:p>
          <a:p>
            <a:pPr marL="1389888" lvl="2" indent="-571500">
              <a:buFontTx/>
              <a:buChar char="-"/>
            </a:pPr>
            <a:r>
              <a:rPr lang="es-AR" b="1" dirty="0" smtClean="0"/>
              <a:t>Reservas legales</a:t>
            </a:r>
          </a:p>
          <a:p>
            <a:pPr marL="1389888" lvl="2" indent="-571500">
              <a:buFontTx/>
              <a:buChar char="-"/>
            </a:pPr>
            <a:r>
              <a:rPr lang="es-AR" b="1" dirty="0" smtClean="0"/>
              <a:t>Reservas estatutarias</a:t>
            </a:r>
          </a:p>
          <a:p>
            <a:pPr marL="1389888" lvl="2" indent="-571500">
              <a:buFontTx/>
              <a:buChar char="-"/>
            </a:pPr>
            <a:r>
              <a:rPr lang="es-AR" b="1" dirty="0" smtClean="0"/>
              <a:t>Reservas facultativas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>
                <a:solidFill>
                  <a:srgbClr val="FF0000"/>
                </a:solidFill>
              </a:rPr>
              <a:t>Otros resultados integrales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/>
              <a:t>Resultados no asignados</a:t>
            </a:r>
          </a:p>
          <a:p>
            <a:pPr marL="1389888" lvl="2" indent="-571500">
              <a:buFontTx/>
              <a:buChar char="-"/>
            </a:pPr>
            <a:r>
              <a:rPr lang="es-AR" b="1" dirty="0" smtClean="0"/>
              <a:t>Resultado de ejercicios anteriores no distribuidos</a:t>
            </a:r>
          </a:p>
          <a:p>
            <a:pPr marL="1389888" lvl="2" indent="-571500">
              <a:buFontTx/>
              <a:buChar char="-"/>
            </a:pPr>
            <a:r>
              <a:rPr lang="es-AR" b="1" dirty="0" smtClean="0"/>
              <a:t>Resultado del ejercicio</a:t>
            </a:r>
          </a:p>
          <a:p>
            <a:pPr marL="418338" lvl="1" indent="0">
              <a:buNone/>
            </a:pPr>
            <a:endParaRPr lang="es-AR" b="1" dirty="0" smtClean="0"/>
          </a:p>
          <a:p>
            <a:pPr marL="18288" indent="0">
              <a:buNone/>
            </a:pPr>
            <a:endParaRPr lang="es-AR" sz="4000" dirty="0" smtClean="0"/>
          </a:p>
          <a:p>
            <a:endParaRPr lang="es-ES_tradnl" dirty="0" smtClean="0"/>
          </a:p>
          <a:p>
            <a:endParaRPr lang="es-AR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19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Rectángulo"/>
          <p:cNvSpPr/>
          <p:nvPr/>
        </p:nvSpPr>
        <p:spPr>
          <a:xfrm>
            <a:off x="1691680" y="836712"/>
            <a:ext cx="574490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_tradnl" sz="2800" b="1" dirty="0" smtClean="0"/>
              <a:t>ESTADO DE SITUACIÓN PATRIMONIAL</a:t>
            </a:r>
          </a:p>
          <a:p>
            <a:pPr algn="ctr"/>
            <a:r>
              <a:rPr lang="es-ES_tradnl" sz="2000" b="1" dirty="0" smtClean="0"/>
              <a:t>(según NIIF)</a:t>
            </a:r>
            <a:endParaRPr lang="es-AR" sz="2000" b="1" dirty="0"/>
          </a:p>
        </p:txBody>
      </p:sp>
      <p:sp>
        <p:nvSpPr>
          <p:cNvPr id="12" name="11 Rectángulo"/>
          <p:cNvSpPr/>
          <p:nvPr/>
        </p:nvSpPr>
        <p:spPr>
          <a:xfrm>
            <a:off x="3923928" y="26064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r"/>
            <a:endParaRPr lang="es-ES_tradnl" sz="1200" dirty="0" smtClean="0"/>
          </a:p>
        </p:txBody>
      </p:sp>
    </p:spTree>
    <p:extLst>
      <p:ext uri="{BB962C8B-B14F-4D97-AF65-F5344CB8AC3E}">
        <p14:creationId xmlns:p14="http://schemas.microsoft.com/office/powerpoint/2010/main" val="3509832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2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55576" y="692696"/>
            <a:ext cx="7848872" cy="838200"/>
          </a:xfrm>
        </p:spPr>
        <p:txBody>
          <a:bodyPr>
            <a:normAutofit/>
          </a:bodyPr>
          <a:lstStyle/>
          <a:p>
            <a:r>
              <a:rPr lang="es-ES_tradnl" sz="2800" b="1" dirty="0" smtClean="0">
                <a:solidFill>
                  <a:srgbClr val="000000"/>
                </a:solidFill>
              </a:rPr>
              <a:t>LA REGISTRACIÓN CONTABLE</a:t>
            </a:r>
            <a:endParaRPr lang="es-ES_tradnl" sz="2800" dirty="0" smtClean="0">
              <a:solidFill>
                <a:srgbClr val="000000"/>
              </a:solidFill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3923928" y="26064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r"/>
            <a:r>
              <a:rPr lang="es-ES_tradnl" sz="1200" dirty="0" smtClean="0"/>
              <a:t>La Registración Contable</a:t>
            </a:r>
          </a:p>
        </p:txBody>
      </p:sp>
      <p:sp>
        <p:nvSpPr>
          <p:cNvPr id="13" name="12 Rectángulo redondeado"/>
          <p:cNvSpPr/>
          <p:nvPr/>
        </p:nvSpPr>
        <p:spPr>
          <a:xfrm>
            <a:off x="611560" y="1916832"/>
            <a:ext cx="864096" cy="93610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200" dirty="0" smtClean="0"/>
              <a:t>DATOS</a:t>
            </a:r>
            <a:endParaRPr lang="es-AR" sz="1200" dirty="0"/>
          </a:p>
        </p:txBody>
      </p:sp>
      <p:sp>
        <p:nvSpPr>
          <p:cNvPr id="16" name="15 Cilindro"/>
          <p:cNvSpPr/>
          <p:nvPr/>
        </p:nvSpPr>
        <p:spPr>
          <a:xfrm>
            <a:off x="1907704" y="1916832"/>
            <a:ext cx="4176464" cy="936104"/>
          </a:xfrm>
          <a:prstGeom prst="can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b="1" dirty="0" smtClean="0"/>
              <a:t>PROCESO </a:t>
            </a:r>
          </a:p>
          <a:p>
            <a:pPr algn="ctr"/>
            <a:r>
              <a:rPr lang="es-AR" b="1" dirty="0" smtClean="0"/>
              <a:t>CONTABLE</a:t>
            </a:r>
            <a:endParaRPr lang="es-AR" b="1" dirty="0"/>
          </a:p>
        </p:txBody>
      </p:sp>
      <p:sp>
        <p:nvSpPr>
          <p:cNvPr id="18" name="17 Flecha derecha"/>
          <p:cNvSpPr/>
          <p:nvPr/>
        </p:nvSpPr>
        <p:spPr>
          <a:xfrm>
            <a:off x="1547664" y="2348880"/>
            <a:ext cx="288032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9" name="18 Multidocumento"/>
          <p:cNvSpPr/>
          <p:nvPr/>
        </p:nvSpPr>
        <p:spPr>
          <a:xfrm>
            <a:off x="6300192" y="2060848"/>
            <a:ext cx="864096" cy="696983"/>
          </a:xfrm>
          <a:prstGeom prst="flowChartMultidocumen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sz="1000" b="1" dirty="0" smtClean="0"/>
              <a:t>I</a:t>
            </a:r>
            <a:r>
              <a:rPr lang="es-AR" sz="900" b="1" dirty="0" smtClean="0"/>
              <a:t>NFORMES</a:t>
            </a:r>
            <a:endParaRPr lang="es-AR" sz="900" b="1" dirty="0"/>
          </a:p>
        </p:txBody>
      </p:sp>
      <p:sp>
        <p:nvSpPr>
          <p:cNvPr id="21" name="20 Elipse"/>
          <p:cNvSpPr/>
          <p:nvPr/>
        </p:nvSpPr>
        <p:spPr>
          <a:xfrm>
            <a:off x="7236296" y="1700808"/>
            <a:ext cx="1542261" cy="437483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200" dirty="0" smtClean="0"/>
              <a:t>INFORMES EXTERNOS</a:t>
            </a:r>
            <a:endParaRPr lang="es-AR" sz="1200" dirty="0"/>
          </a:p>
        </p:txBody>
      </p:sp>
      <p:sp>
        <p:nvSpPr>
          <p:cNvPr id="23" name="22 Elipse"/>
          <p:cNvSpPr/>
          <p:nvPr/>
        </p:nvSpPr>
        <p:spPr>
          <a:xfrm>
            <a:off x="7236296" y="2708920"/>
            <a:ext cx="1542261" cy="406234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200" dirty="0" smtClean="0"/>
              <a:t>INFORMES INTERNOS </a:t>
            </a:r>
          </a:p>
        </p:txBody>
      </p:sp>
      <p:cxnSp>
        <p:nvCxnSpPr>
          <p:cNvPr id="25" name="24 Conector recto de flecha"/>
          <p:cNvCxnSpPr>
            <a:stCxn id="19" idx="3"/>
            <a:endCxn id="21" idx="2"/>
          </p:cNvCxnSpPr>
          <p:nvPr/>
        </p:nvCxnSpPr>
        <p:spPr>
          <a:xfrm flipV="1">
            <a:off x="7164288" y="1919550"/>
            <a:ext cx="72008" cy="4897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26 Conector recto de flecha"/>
          <p:cNvCxnSpPr>
            <a:stCxn id="19" idx="3"/>
            <a:endCxn id="23" idx="2"/>
          </p:cNvCxnSpPr>
          <p:nvPr/>
        </p:nvCxnSpPr>
        <p:spPr>
          <a:xfrm>
            <a:off x="7164288" y="2409340"/>
            <a:ext cx="72008" cy="50269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41 Cerrar llave"/>
          <p:cNvSpPr/>
          <p:nvPr/>
        </p:nvSpPr>
        <p:spPr>
          <a:xfrm rot="16200000">
            <a:off x="3851920" y="548680"/>
            <a:ext cx="360040" cy="525658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47" name="46 Recortar rectángulo de esquina diagonal"/>
          <p:cNvSpPr/>
          <p:nvPr/>
        </p:nvSpPr>
        <p:spPr>
          <a:xfrm>
            <a:off x="899592" y="3356992"/>
            <a:ext cx="792088" cy="792088"/>
          </a:xfrm>
          <a:prstGeom prst="snip2Diag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dirty="0" smtClean="0"/>
              <a:t>1°</a:t>
            </a:r>
          </a:p>
          <a:p>
            <a:pPr algn="ctr"/>
            <a:r>
              <a:rPr lang="es-AR" sz="1100" dirty="0" smtClean="0"/>
              <a:t>Analizar datos</a:t>
            </a:r>
            <a:endParaRPr lang="es-AR" sz="1100" dirty="0"/>
          </a:p>
        </p:txBody>
      </p:sp>
      <p:sp>
        <p:nvSpPr>
          <p:cNvPr id="48" name="47 Recortar rectángulo de esquina diagonal"/>
          <p:cNvSpPr/>
          <p:nvPr/>
        </p:nvSpPr>
        <p:spPr>
          <a:xfrm>
            <a:off x="1979712" y="3356992"/>
            <a:ext cx="864096" cy="792088"/>
          </a:xfrm>
          <a:prstGeom prst="snip2Diag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dirty="0" smtClean="0"/>
              <a:t>2°</a:t>
            </a:r>
          </a:p>
          <a:p>
            <a:pPr algn="ctr"/>
            <a:r>
              <a:rPr lang="es-AR" sz="1100" dirty="0" smtClean="0"/>
              <a:t>Registrar en Diario</a:t>
            </a:r>
            <a:endParaRPr lang="es-AR" sz="1100" dirty="0"/>
          </a:p>
        </p:txBody>
      </p:sp>
      <p:sp>
        <p:nvSpPr>
          <p:cNvPr id="49" name="48 Flecha derecha"/>
          <p:cNvSpPr/>
          <p:nvPr/>
        </p:nvSpPr>
        <p:spPr>
          <a:xfrm>
            <a:off x="1763688" y="3717032"/>
            <a:ext cx="144016" cy="72008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0" name="49 Recortar rectángulo de esquina diagonal"/>
          <p:cNvSpPr/>
          <p:nvPr/>
        </p:nvSpPr>
        <p:spPr>
          <a:xfrm>
            <a:off x="3131840" y="3356992"/>
            <a:ext cx="864096" cy="792088"/>
          </a:xfrm>
          <a:prstGeom prst="snip2Diag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dirty="0" smtClean="0"/>
              <a:t>3°</a:t>
            </a:r>
          </a:p>
          <a:p>
            <a:pPr algn="ctr"/>
            <a:r>
              <a:rPr lang="es-AR" sz="1100" dirty="0" smtClean="0"/>
              <a:t>Armar los Mayores</a:t>
            </a:r>
            <a:endParaRPr lang="es-AR" sz="1100" dirty="0"/>
          </a:p>
        </p:txBody>
      </p:sp>
      <p:sp>
        <p:nvSpPr>
          <p:cNvPr id="52" name="51 Recortar rectángulo de esquina diagonal"/>
          <p:cNvSpPr/>
          <p:nvPr/>
        </p:nvSpPr>
        <p:spPr>
          <a:xfrm>
            <a:off x="4211960" y="3356992"/>
            <a:ext cx="864096" cy="792088"/>
          </a:xfrm>
          <a:prstGeom prst="snip2Diag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dirty="0" smtClean="0"/>
              <a:t>4°</a:t>
            </a:r>
          </a:p>
          <a:p>
            <a:pPr algn="ctr"/>
            <a:r>
              <a:rPr lang="es-AR" sz="1100" dirty="0" smtClean="0"/>
              <a:t>Balance de Saldos</a:t>
            </a:r>
            <a:endParaRPr lang="es-AR" sz="1100" dirty="0"/>
          </a:p>
        </p:txBody>
      </p:sp>
      <p:sp>
        <p:nvSpPr>
          <p:cNvPr id="53" name="52 Recortar rectángulo de esquina diagonal"/>
          <p:cNvSpPr/>
          <p:nvPr/>
        </p:nvSpPr>
        <p:spPr>
          <a:xfrm>
            <a:off x="5292080" y="3356992"/>
            <a:ext cx="864096" cy="792088"/>
          </a:xfrm>
          <a:prstGeom prst="snip2Diag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dirty="0" smtClean="0"/>
              <a:t>5°</a:t>
            </a:r>
          </a:p>
          <a:p>
            <a:pPr algn="ctr"/>
            <a:r>
              <a:rPr lang="es-AR" sz="1100" dirty="0" smtClean="0"/>
              <a:t>Analizar saldos</a:t>
            </a:r>
            <a:endParaRPr lang="es-AR" sz="1100" dirty="0"/>
          </a:p>
        </p:txBody>
      </p:sp>
      <p:sp>
        <p:nvSpPr>
          <p:cNvPr id="54" name="53 Recortar rectángulo de esquina diagonal"/>
          <p:cNvSpPr/>
          <p:nvPr/>
        </p:nvSpPr>
        <p:spPr>
          <a:xfrm>
            <a:off x="6372200" y="3356992"/>
            <a:ext cx="864096" cy="792088"/>
          </a:xfrm>
          <a:prstGeom prst="snip2Diag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dirty="0" smtClean="0"/>
              <a:t>6°</a:t>
            </a:r>
          </a:p>
          <a:p>
            <a:pPr algn="ctr"/>
            <a:r>
              <a:rPr lang="es-AR" sz="1100" dirty="0" smtClean="0"/>
              <a:t>Emitir informes</a:t>
            </a:r>
            <a:endParaRPr lang="es-AR" sz="1100" dirty="0"/>
          </a:p>
        </p:txBody>
      </p:sp>
      <p:sp>
        <p:nvSpPr>
          <p:cNvPr id="55" name="54 Flecha derecha"/>
          <p:cNvSpPr/>
          <p:nvPr/>
        </p:nvSpPr>
        <p:spPr>
          <a:xfrm>
            <a:off x="2915816" y="3717032"/>
            <a:ext cx="144016" cy="72008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6" name="55 Flecha derecha"/>
          <p:cNvSpPr/>
          <p:nvPr/>
        </p:nvSpPr>
        <p:spPr>
          <a:xfrm>
            <a:off x="3995936" y="3717032"/>
            <a:ext cx="144016" cy="72008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7" name="56 Flecha derecha"/>
          <p:cNvSpPr/>
          <p:nvPr/>
        </p:nvSpPr>
        <p:spPr>
          <a:xfrm>
            <a:off x="5148064" y="3717032"/>
            <a:ext cx="144016" cy="72008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8" name="57 Flecha derecha"/>
          <p:cNvSpPr/>
          <p:nvPr/>
        </p:nvSpPr>
        <p:spPr>
          <a:xfrm>
            <a:off x="6156176" y="3717032"/>
            <a:ext cx="144016" cy="72008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71" name="70 Flecha derecha"/>
          <p:cNvSpPr/>
          <p:nvPr/>
        </p:nvSpPr>
        <p:spPr>
          <a:xfrm>
            <a:off x="6084168" y="2420888"/>
            <a:ext cx="216024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72" name="71 Rectángulo"/>
          <p:cNvSpPr/>
          <p:nvPr/>
        </p:nvSpPr>
        <p:spPr>
          <a:xfrm>
            <a:off x="1619672" y="4797152"/>
            <a:ext cx="1296144" cy="100811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cxnSp>
        <p:nvCxnSpPr>
          <p:cNvPr id="74" name="73 Conector recto"/>
          <p:cNvCxnSpPr/>
          <p:nvPr/>
        </p:nvCxnSpPr>
        <p:spPr>
          <a:xfrm>
            <a:off x="2411760" y="5085184"/>
            <a:ext cx="0" cy="720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76 Conector recto"/>
          <p:cNvCxnSpPr/>
          <p:nvPr/>
        </p:nvCxnSpPr>
        <p:spPr>
          <a:xfrm>
            <a:off x="2627784" y="5085184"/>
            <a:ext cx="0" cy="720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87 Conector recto"/>
          <p:cNvCxnSpPr/>
          <p:nvPr/>
        </p:nvCxnSpPr>
        <p:spPr>
          <a:xfrm>
            <a:off x="1619672" y="5085184"/>
            <a:ext cx="129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90 CuadroTexto"/>
          <p:cNvSpPr txBox="1"/>
          <p:nvPr/>
        </p:nvSpPr>
        <p:spPr>
          <a:xfrm>
            <a:off x="1763688" y="4797152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200" dirty="0" smtClean="0"/>
              <a:t>DIARIO</a:t>
            </a:r>
            <a:endParaRPr lang="es-AR" sz="1200" dirty="0"/>
          </a:p>
        </p:txBody>
      </p:sp>
      <p:cxnSp>
        <p:nvCxnSpPr>
          <p:cNvPr id="93" name="92 Conector recto de flecha"/>
          <p:cNvCxnSpPr>
            <a:stCxn id="48" idx="1"/>
          </p:cNvCxnSpPr>
          <p:nvPr/>
        </p:nvCxnSpPr>
        <p:spPr>
          <a:xfrm>
            <a:off x="2411760" y="4149080"/>
            <a:ext cx="0" cy="3600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93 Multidocumento"/>
          <p:cNvSpPr/>
          <p:nvPr/>
        </p:nvSpPr>
        <p:spPr>
          <a:xfrm>
            <a:off x="3131840" y="4941168"/>
            <a:ext cx="792088" cy="720080"/>
          </a:xfrm>
          <a:prstGeom prst="flowChartMultidocumen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900" b="1" dirty="0" smtClean="0"/>
              <a:t>MAYORES</a:t>
            </a:r>
            <a:endParaRPr lang="es-AR" sz="900" b="1" dirty="0"/>
          </a:p>
        </p:txBody>
      </p:sp>
      <p:cxnSp>
        <p:nvCxnSpPr>
          <p:cNvPr id="96" name="95 Conector recto de flecha"/>
          <p:cNvCxnSpPr>
            <a:stCxn id="72" idx="3"/>
          </p:cNvCxnSpPr>
          <p:nvPr/>
        </p:nvCxnSpPr>
        <p:spPr>
          <a:xfrm>
            <a:off x="2915816" y="5301208"/>
            <a:ext cx="21602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97 Rectángulo"/>
          <p:cNvSpPr/>
          <p:nvPr/>
        </p:nvSpPr>
        <p:spPr>
          <a:xfrm>
            <a:off x="4139952" y="4797152"/>
            <a:ext cx="1296144" cy="100811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cxnSp>
        <p:nvCxnSpPr>
          <p:cNvPr id="99" name="98 Conector recto"/>
          <p:cNvCxnSpPr/>
          <p:nvPr/>
        </p:nvCxnSpPr>
        <p:spPr>
          <a:xfrm>
            <a:off x="4932040" y="5085184"/>
            <a:ext cx="0" cy="720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99 Conector recto"/>
          <p:cNvCxnSpPr/>
          <p:nvPr/>
        </p:nvCxnSpPr>
        <p:spPr>
          <a:xfrm>
            <a:off x="5148064" y="5085184"/>
            <a:ext cx="0" cy="720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100 CuadroTexto"/>
          <p:cNvSpPr txBox="1"/>
          <p:nvPr/>
        </p:nvSpPr>
        <p:spPr>
          <a:xfrm>
            <a:off x="4283968" y="4797152"/>
            <a:ext cx="1152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200" dirty="0" smtClean="0"/>
              <a:t>BCE DE SALDOS</a:t>
            </a:r>
            <a:endParaRPr lang="es-AR" sz="1200" dirty="0"/>
          </a:p>
        </p:txBody>
      </p:sp>
      <p:cxnSp>
        <p:nvCxnSpPr>
          <p:cNvPr id="102" name="101 Conector recto"/>
          <p:cNvCxnSpPr/>
          <p:nvPr/>
        </p:nvCxnSpPr>
        <p:spPr>
          <a:xfrm>
            <a:off x="4139952" y="5085184"/>
            <a:ext cx="129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04 Conector recto de flecha"/>
          <p:cNvCxnSpPr>
            <a:stCxn id="52" idx="1"/>
          </p:cNvCxnSpPr>
          <p:nvPr/>
        </p:nvCxnSpPr>
        <p:spPr>
          <a:xfrm>
            <a:off x="4644008" y="4149080"/>
            <a:ext cx="0" cy="3600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05 Conector recto de flecha"/>
          <p:cNvCxnSpPr>
            <a:stCxn id="94" idx="3"/>
            <a:endCxn id="98" idx="1"/>
          </p:cNvCxnSpPr>
          <p:nvPr/>
        </p:nvCxnSpPr>
        <p:spPr>
          <a:xfrm>
            <a:off x="3923928" y="5301208"/>
            <a:ext cx="21602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12 Conector recto de flecha"/>
          <p:cNvCxnSpPr>
            <a:stCxn id="50" idx="1"/>
          </p:cNvCxnSpPr>
          <p:nvPr/>
        </p:nvCxnSpPr>
        <p:spPr>
          <a:xfrm>
            <a:off x="3563888" y="4149080"/>
            <a:ext cx="0" cy="3600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115 Rectángulo redondeado"/>
          <p:cNvSpPr/>
          <p:nvPr/>
        </p:nvSpPr>
        <p:spPr>
          <a:xfrm>
            <a:off x="755576" y="4725144"/>
            <a:ext cx="288032" cy="1152128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200" dirty="0" smtClean="0"/>
              <a:t>DATOS</a:t>
            </a:r>
            <a:endParaRPr lang="es-AR" sz="1200" dirty="0"/>
          </a:p>
        </p:txBody>
      </p:sp>
      <p:cxnSp>
        <p:nvCxnSpPr>
          <p:cNvPr id="119" name="118 Conector recto de flecha"/>
          <p:cNvCxnSpPr>
            <a:stCxn id="116" idx="3"/>
            <a:endCxn id="72" idx="1"/>
          </p:cNvCxnSpPr>
          <p:nvPr/>
        </p:nvCxnSpPr>
        <p:spPr>
          <a:xfrm>
            <a:off x="1043608" y="5301208"/>
            <a:ext cx="57606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125 Rectángulo redondeado"/>
          <p:cNvSpPr/>
          <p:nvPr/>
        </p:nvSpPr>
        <p:spPr>
          <a:xfrm>
            <a:off x="539552" y="4581128"/>
            <a:ext cx="5328592" cy="1512168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27" name="126 Flecha derecha"/>
          <p:cNvSpPr/>
          <p:nvPr/>
        </p:nvSpPr>
        <p:spPr>
          <a:xfrm>
            <a:off x="5940152" y="5229200"/>
            <a:ext cx="432048" cy="144016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28" name="127 CuadroTexto"/>
          <p:cNvSpPr txBox="1"/>
          <p:nvPr/>
        </p:nvSpPr>
        <p:spPr>
          <a:xfrm>
            <a:off x="6444208" y="4941168"/>
            <a:ext cx="2232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dirty="0" smtClean="0">
                <a:solidFill>
                  <a:srgbClr val="FF0000"/>
                </a:solidFill>
              </a:rPr>
              <a:t>La registración contable básica</a:t>
            </a:r>
            <a:endParaRPr lang="es-AR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663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611560" y="620688"/>
            <a:ext cx="8181975" cy="990600"/>
          </a:xfr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s-ES_tradnl" sz="3600" b="1" dirty="0" smtClean="0">
                <a:solidFill>
                  <a:srgbClr val="000000"/>
                </a:solidFill>
                <a:latin typeface="+mn-lt"/>
              </a:rPr>
              <a:t>Integración del ESP con el ER</a:t>
            </a:r>
            <a:endParaRPr lang="es-ES_tradnl" dirty="0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0723" name="Rectangle 4"/>
          <p:cNvSpPr>
            <a:spLocks noChangeArrowheads="1"/>
          </p:cNvSpPr>
          <p:nvPr/>
        </p:nvSpPr>
        <p:spPr bwMode="auto">
          <a:xfrm>
            <a:off x="2843808" y="1844674"/>
            <a:ext cx="2399705" cy="223239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s-ES_tradnl" sz="2000" b="1" dirty="0">
                <a:solidFill>
                  <a:srgbClr val="000000"/>
                </a:solidFill>
              </a:rPr>
              <a:t>Estado de </a:t>
            </a:r>
          </a:p>
          <a:p>
            <a:pPr algn="ctr"/>
            <a:r>
              <a:rPr lang="es-ES_tradnl" sz="2000" b="1" dirty="0">
                <a:solidFill>
                  <a:srgbClr val="000000"/>
                </a:solidFill>
              </a:rPr>
              <a:t>Situación</a:t>
            </a:r>
          </a:p>
          <a:p>
            <a:pPr algn="ctr"/>
            <a:r>
              <a:rPr lang="es-ES_tradnl" sz="2000" b="1" dirty="0">
                <a:solidFill>
                  <a:srgbClr val="000000"/>
                </a:solidFill>
              </a:rPr>
              <a:t>Patrimonial</a:t>
            </a:r>
            <a:endParaRPr lang="es-ES_tradnl" b="1" i="1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0725" name="Rectangle 6"/>
          <p:cNvSpPr>
            <a:spLocks noChangeArrowheads="1"/>
          </p:cNvSpPr>
          <p:nvPr/>
        </p:nvSpPr>
        <p:spPr bwMode="auto">
          <a:xfrm>
            <a:off x="5508104" y="4077072"/>
            <a:ext cx="1406525" cy="20574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s-ES_tradnl" sz="2000" b="1">
                <a:solidFill>
                  <a:srgbClr val="000000"/>
                </a:solidFill>
              </a:rPr>
              <a:t>Estado de </a:t>
            </a:r>
          </a:p>
          <a:p>
            <a:pPr algn="ctr"/>
            <a:r>
              <a:rPr lang="es-ES_tradnl" sz="2000" b="1">
                <a:solidFill>
                  <a:srgbClr val="000000"/>
                </a:solidFill>
              </a:rPr>
              <a:t>Resultados</a:t>
            </a:r>
            <a:endParaRPr lang="es-ES_tradnl" b="1" i="1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0727" name="Line 8"/>
          <p:cNvSpPr>
            <a:spLocks noChangeShapeType="1"/>
          </p:cNvSpPr>
          <p:nvPr/>
        </p:nvSpPr>
        <p:spPr bwMode="auto">
          <a:xfrm flipH="1">
            <a:off x="4572000" y="1828800"/>
            <a:ext cx="6985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sp>
        <p:nvSpPr>
          <p:cNvPr id="30728" name="Line 9"/>
          <p:cNvSpPr>
            <a:spLocks noChangeShapeType="1"/>
          </p:cNvSpPr>
          <p:nvPr/>
        </p:nvSpPr>
        <p:spPr bwMode="auto">
          <a:xfrm>
            <a:off x="4140200" y="1844675"/>
            <a:ext cx="0" cy="22098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sp>
        <p:nvSpPr>
          <p:cNvPr id="30729" name="Line 10"/>
          <p:cNvSpPr>
            <a:spLocks noChangeShapeType="1"/>
          </p:cNvSpPr>
          <p:nvPr/>
        </p:nvSpPr>
        <p:spPr bwMode="auto">
          <a:xfrm>
            <a:off x="4140200" y="2781300"/>
            <a:ext cx="10556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sp>
        <p:nvSpPr>
          <p:cNvPr id="30730" name="AutoShape 12"/>
          <p:cNvSpPr>
            <a:spLocks noChangeArrowheads="1"/>
          </p:cNvSpPr>
          <p:nvPr/>
        </p:nvSpPr>
        <p:spPr bwMode="auto">
          <a:xfrm rot="-1556453">
            <a:off x="4835931" y="3818588"/>
            <a:ext cx="624387" cy="2008395"/>
          </a:xfrm>
          <a:prstGeom prst="curvedRightArrow">
            <a:avLst>
              <a:gd name="adj1" fmla="val 25000"/>
              <a:gd name="adj2" fmla="val 50000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pic>
        <p:nvPicPr>
          <p:cNvPr id="13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15" name="14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5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20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20</a:t>
            </a:fld>
            <a:endParaRPr lang="es-AR" dirty="0"/>
          </a:p>
        </p:txBody>
      </p:sp>
      <p:sp>
        <p:nvSpPr>
          <p:cNvPr id="23" name="TextBox 22"/>
          <p:cNvSpPr txBox="1"/>
          <p:nvPr/>
        </p:nvSpPr>
        <p:spPr>
          <a:xfrm>
            <a:off x="4283968" y="3429000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dirty="0" smtClean="0">
                <a:solidFill>
                  <a:srgbClr val="FF0000"/>
                </a:solidFill>
              </a:rPr>
              <a:t>RNA</a:t>
            </a:r>
            <a:endParaRPr lang="es-AR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5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7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altLang="es-AR" sz="3200" dirty="0" err="1" smtClean="0"/>
              <a:t>Estructura</a:t>
            </a:r>
            <a:r>
              <a:rPr lang="en-US" altLang="es-AR" sz="3200" dirty="0" smtClean="0"/>
              <a:t> del Estado de </a:t>
            </a:r>
            <a:r>
              <a:rPr lang="en-US" altLang="es-AR" sz="3200" dirty="0" err="1" smtClean="0"/>
              <a:t>Resultados</a:t>
            </a:r>
            <a:endParaRPr lang="en-US" altLang="es-AR" sz="3200" dirty="0" smtClean="0"/>
          </a:p>
        </p:txBody>
      </p:sp>
      <p:sp>
        <p:nvSpPr>
          <p:cNvPr id="21508" name="Slide Number Placeholder 14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588224" y="609329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B62DFE0-0455-4D13-B2DF-04AAFE2A5E8B}" type="slidenum">
              <a:rPr lang="en-US" altLang="es-AR" sz="900" smtClean="0">
                <a:solidFill>
                  <a:schemeClr val="tx2"/>
                </a:solidFill>
              </a:rPr>
              <a:pPr eaLnBrk="1" hangingPunct="1"/>
              <a:t>21</a:t>
            </a:fld>
            <a:endParaRPr lang="en-US" altLang="es-AR" sz="900" smtClean="0">
              <a:solidFill>
                <a:schemeClr val="tx2"/>
              </a:solidFill>
            </a:endParaRPr>
          </a:p>
        </p:txBody>
      </p:sp>
      <p:sp>
        <p:nvSpPr>
          <p:cNvPr id="21516" name="Text Placeholder 5"/>
          <p:cNvSpPr txBox="1">
            <a:spLocks/>
          </p:cNvSpPr>
          <p:nvPr/>
        </p:nvSpPr>
        <p:spPr bwMode="auto">
          <a:xfrm>
            <a:off x="1331640" y="1340873"/>
            <a:ext cx="6192688" cy="4915017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/>
          <a:lstStyle>
            <a:lvl1pPr defTabSz="9572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79388" indent="-179388" defTabSz="9572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58775" indent="-179388" defTabSz="9572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39750" indent="-179388" defTabSz="9572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572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dirty="0" smtClean="0">
                <a:solidFill>
                  <a:schemeClr val="tx2"/>
                </a:solidFill>
              </a:rPr>
              <a:t>VENTAS NETAS</a:t>
            </a: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dirty="0" smtClean="0">
                <a:solidFill>
                  <a:schemeClr val="tx2"/>
                </a:solidFill>
              </a:rPr>
              <a:t>-COSTO DE VENTAS</a:t>
            </a: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b="1" dirty="0" smtClean="0">
                <a:solidFill>
                  <a:schemeClr val="tx2"/>
                </a:solidFill>
              </a:rPr>
              <a:t>=</a:t>
            </a:r>
            <a:r>
              <a:rPr lang="en-US" altLang="es-AR" sz="2000" b="1" dirty="0" err="1" smtClean="0">
                <a:solidFill>
                  <a:schemeClr val="tx2"/>
                </a:solidFill>
              </a:rPr>
              <a:t>Resultado</a:t>
            </a:r>
            <a:r>
              <a:rPr lang="en-US" altLang="es-AR" sz="2000" b="1" dirty="0" smtClean="0">
                <a:solidFill>
                  <a:schemeClr val="tx2"/>
                </a:solidFill>
              </a:rPr>
              <a:t> </a:t>
            </a:r>
            <a:r>
              <a:rPr lang="en-US" altLang="es-AR" sz="2000" b="1" dirty="0" err="1" smtClean="0">
                <a:solidFill>
                  <a:schemeClr val="tx2"/>
                </a:solidFill>
              </a:rPr>
              <a:t>bruto</a:t>
            </a:r>
            <a:endParaRPr lang="en-US" altLang="es-AR" sz="2000" b="1" dirty="0" smtClean="0">
              <a:solidFill>
                <a:schemeClr val="tx2"/>
              </a:solidFill>
            </a:endParaRP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dirty="0" smtClean="0">
                <a:solidFill>
                  <a:schemeClr val="tx2"/>
                </a:solidFill>
              </a:rPr>
              <a:t>-GASTOS OPERATIVOS DE ADMINISTRACIÓN</a:t>
            </a: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dirty="0" smtClean="0">
                <a:solidFill>
                  <a:schemeClr val="tx2"/>
                </a:solidFill>
              </a:rPr>
              <a:t>-GASTOS OPERATIVOS DE COMERCIALIZACIÓN</a:t>
            </a: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dirty="0" smtClean="0">
                <a:solidFill>
                  <a:schemeClr val="tx2"/>
                </a:solidFill>
              </a:rPr>
              <a:t>-OTROS GASTOS OPERATIVOS</a:t>
            </a: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dirty="0" smtClean="0">
                <a:solidFill>
                  <a:schemeClr val="tx2"/>
                </a:solidFill>
              </a:rPr>
              <a:t>+OTROS INGRESOS OPERATIVOS</a:t>
            </a: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b="1" dirty="0" smtClean="0">
                <a:solidFill>
                  <a:schemeClr val="tx2"/>
                </a:solidFill>
              </a:rPr>
              <a:t>=</a:t>
            </a:r>
            <a:r>
              <a:rPr lang="en-US" altLang="es-AR" sz="2000" b="1" dirty="0" err="1" smtClean="0">
                <a:solidFill>
                  <a:schemeClr val="tx2"/>
                </a:solidFill>
              </a:rPr>
              <a:t>Resultado</a:t>
            </a:r>
            <a:r>
              <a:rPr lang="en-US" altLang="es-AR" sz="2000" b="1" dirty="0" smtClean="0">
                <a:solidFill>
                  <a:schemeClr val="tx2"/>
                </a:solidFill>
              </a:rPr>
              <a:t> </a:t>
            </a:r>
            <a:r>
              <a:rPr lang="en-US" altLang="es-AR" sz="2000" b="1" dirty="0" err="1" smtClean="0">
                <a:solidFill>
                  <a:schemeClr val="tx2"/>
                </a:solidFill>
              </a:rPr>
              <a:t>operativo</a:t>
            </a:r>
            <a:endParaRPr lang="en-US" altLang="es-AR" sz="2000" b="1" dirty="0" smtClean="0">
              <a:solidFill>
                <a:schemeClr val="tx2"/>
              </a:solidFill>
            </a:endParaRP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dirty="0" smtClean="0">
                <a:solidFill>
                  <a:schemeClr val="tx2"/>
                </a:solidFill>
              </a:rPr>
              <a:t>+/-RESULTADOS FINANCIEROS</a:t>
            </a: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dirty="0" smtClean="0">
                <a:solidFill>
                  <a:schemeClr val="tx2"/>
                </a:solidFill>
              </a:rPr>
              <a:t>+/-</a:t>
            </a:r>
            <a:r>
              <a:rPr lang="en-US" altLang="es-AR" sz="1800" dirty="0" smtClean="0">
                <a:solidFill>
                  <a:schemeClr val="tx2"/>
                </a:solidFill>
              </a:rPr>
              <a:t>RESULTADOS DE INVERSIONES PERMANENTES</a:t>
            </a: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dirty="0" smtClean="0">
                <a:solidFill>
                  <a:schemeClr val="tx2"/>
                </a:solidFill>
              </a:rPr>
              <a:t>+/-OTROS INGRESOS Y EGRESOS</a:t>
            </a: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b="1" dirty="0" smtClean="0">
                <a:solidFill>
                  <a:schemeClr val="tx2"/>
                </a:solidFill>
              </a:rPr>
              <a:t>=</a:t>
            </a:r>
            <a:r>
              <a:rPr lang="en-US" altLang="es-AR" sz="2000" b="1" dirty="0" err="1" smtClean="0">
                <a:solidFill>
                  <a:schemeClr val="tx2"/>
                </a:solidFill>
              </a:rPr>
              <a:t>Resultado</a:t>
            </a:r>
            <a:r>
              <a:rPr lang="en-US" altLang="es-AR" sz="2000" b="1" dirty="0" smtClean="0">
                <a:solidFill>
                  <a:schemeClr val="tx2"/>
                </a:solidFill>
              </a:rPr>
              <a:t> antes de </a:t>
            </a:r>
            <a:r>
              <a:rPr lang="en-US" altLang="es-AR" sz="2000" b="1" dirty="0" err="1" smtClean="0">
                <a:solidFill>
                  <a:schemeClr val="tx2"/>
                </a:solidFill>
              </a:rPr>
              <a:t>impuesto</a:t>
            </a:r>
            <a:r>
              <a:rPr lang="en-US" altLang="es-AR" sz="2000" b="1" dirty="0" smtClean="0">
                <a:solidFill>
                  <a:schemeClr val="tx2"/>
                </a:solidFill>
              </a:rPr>
              <a:t> a las </a:t>
            </a:r>
            <a:r>
              <a:rPr lang="en-US" altLang="es-AR" sz="2000" b="1" dirty="0" err="1" smtClean="0">
                <a:solidFill>
                  <a:schemeClr val="tx2"/>
                </a:solidFill>
              </a:rPr>
              <a:t>ganancias</a:t>
            </a:r>
            <a:endParaRPr lang="en-US" altLang="es-AR" sz="2000" b="1" dirty="0" smtClean="0">
              <a:solidFill>
                <a:schemeClr val="tx2"/>
              </a:solidFill>
            </a:endParaRP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dirty="0" smtClean="0">
                <a:solidFill>
                  <a:schemeClr val="tx2"/>
                </a:solidFill>
              </a:rPr>
              <a:t>-IMPUESTO A LAS GANANCIAS</a:t>
            </a: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r>
              <a:rPr lang="en-US" altLang="es-AR" sz="2000" b="1" dirty="0" smtClean="0">
                <a:solidFill>
                  <a:schemeClr val="tx2"/>
                </a:solidFill>
              </a:rPr>
              <a:t>=</a:t>
            </a:r>
            <a:r>
              <a:rPr lang="en-US" altLang="es-AR" sz="2000" b="1" dirty="0" err="1" smtClean="0">
                <a:solidFill>
                  <a:schemeClr val="tx2"/>
                </a:solidFill>
              </a:rPr>
              <a:t>Resultado</a:t>
            </a:r>
            <a:r>
              <a:rPr lang="en-US" altLang="es-AR" sz="2000" b="1" dirty="0" smtClean="0">
                <a:solidFill>
                  <a:schemeClr val="tx2"/>
                </a:solidFill>
              </a:rPr>
              <a:t> final</a:t>
            </a: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endParaRPr lang="en-US" altLang="es-AR" sz="1800" dirty="0" smtClean="0">
              <a:solidFill>
                <a:schemeClr val="tx2"/>
              </a:solidFill>
            </a:endParaRP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endParaRPr lang="en-US" altLang="es-AR" sz="2000" dirty="0" smtClean="0">
              <a:solidFill>
                <a:schemeClr val="tx2"/>
              </a:solidFill>
            </a:endParaRP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endParaRPr lang="en-US" altLang="es-AR" sz="2000" dirty="0" smtClean="0">
              <a:solidFill>
                <a:schemeClr val="tx2"/>
              </a:solidFill>
            </a:endParaRP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endParaRPr lang="en-US" altLang="es-AR" sz="2000" dirty="0">
              <a:solidFill>
                <a:schemeClr val="tx2"/>
              </a:solidFill>
            </a:endParaRPr>
          </a:p>
          <a:p>
            <a:pPr eaLnBrk="1" hangingPunct="1">
              <a:spcBef>
                <a:spcPts val="400"/>
              </a:spcBef>
              <a:buFont typeface="Arial" pitchFamily="34" charset="0"/>
              <a:buNone/>
            </a:pPr>
            <a:endParaRPr lang="en-US" altLang="es-AR" sz="1400" dirty="0">
              <a:solidFill>
                <a:schemeClr val="tx2"/>
              </a:solidFill>
            </a:endParaRPr>
          </a:p>
        </p:txBody>
      </p:sp>
      <p:pic>
        <p:nvPicPr>
          <p:cNvPr id="7" name="Picture 5"/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2578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3" name="Slide Number Placeholder 27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15925" y="6554788"/>
            <a:ext cx="346075" cy="14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672B3A86-D12B-48E4-9D3A-96D5DC27493E}" type="slidenum">
              <a:rPr lang="en-US" altLang="es-AR" sz="900" smtClean="0">
                <a:solidFill>
                  <a:schemeClr val="tx2"/>
                </a:solidFill>
              </a:rPr>
              <a:pPr eaLnBrk="1" hangingPunct="1"/>
              <a:t>22</a:t>
            </a:fld>
            <a:endParaRPr lang="en-US" altLang="es-AR" sz="900" smtClean="0">
              <a:solidFill>
                <a:schemeClr val="tx2"/>
              </a:solidFill>
            </a:endParaRPr>
          </a:p>
        </p:txBody>
      </p:sp>
      <p:sp>
        <p:nvSpPr>
          <p:cNvPr id="56324" name="Footer Placeholder 26"/>
          <p:cNvSpPr>
            <a:spLocks noGrp="1"/>
          </p:cNvSpPr>
          <p:nvPr>
            <p:ph type="ftr" sz="quarter" idx="4294967295"/>
          </p:nvPr>
        </p:nvSpPr>
        <p:spPr bwMode="auto">
          <a:xfrm>
            <a:off x="771525" y="6554788"/>
            <a:ext cx="4318000" cy="128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altLang="es-AR" sz="800" smtClean="0">
                <a:solidFill>
                  <a:schemeClr val="tx2"/>
                </a:solidFill>
              </a:rPr>
              <a:t>Deloitte PowerPoint timesaver – March 2011</a:t>
            </a:r>
            <a:endParaRPr lang="en-US" altLang="es-AR" sz="800" smtClean="0">
              <a:solidFill>
                <a:schemeClr val="tx2"/>
              </a:solidFill>
            </a:endParaRPr>
          </a:p>
        </p:txBody>
      </p:sp>
      <p:cxnSp>
        <p:nvCxnSpPr>
          <p:cNvPr id="56325" name="AutoShape 6"/>
          <p:cNvCxnSpPr>
            <a:cxnSpLocks noChangeShapeType="1"/>
            <a:stCxn id="56337" idx="3"/>
            <a:endCxn id="56338" idx="1"/>
          </p:cNvCxnSpPr>
          <p:nvPr>
            <p:custDataLst>
              <p:tags r:id="rId2"/>
            </p:custDataLst>
          </p:nvPr>
        </p:nvCxnSpPr>
        <p:spPr bwMode="auto">
          <a:xfrm flipV="1">
            <a:off x="5297488" y="1862138"/>
            <a:ext cx="1063625" cy="36036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326" name="AutoShape 7"/>
          <p:cNvCxnSpPr>
            <a:cxnSpLocks noChangeShapeType="1"/>
            <a:stCxn id="56337" idx="3"/>
            <a:endCxn id="56339" idx="1"/>
          </p:cNvCxnSpPr>
          <p:nvPr>
            <p:custDataLst>
              <p:tags r:id="rId3"/>
            </p:custDataLst>
          </p:nvPr>
        </p:nvCxnSpPr>
        <p:spPr bwMode="auto">
          <a:xfrm>
            <a:off x="5297488" y="2222500"/>
            <a:ext cx="1063625" cy="39528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327" name="AutoShape 11"/>
          <p:cNvCxnSpPr>
            <a:cxnSpLocks noChangeShapeType="1"/>
            <a:stCxn id="56342" idx="3"/>
            <a:endCxn id="56340" idx="1"/>
          </p:cNvCxnSpPr>
          <p:nvPr>
            <p:custDataLst>
              <p:tags r:id="rId4"/>
            </p:custDataLst>
          </p:nvPr>
        </p:nvCxnSpPr>
        <p:spPr bwMode="auto">
          <a:xfrm flipV="1">
            <a:off x="5297488" y="4886325"/>
            <a:ext cx="1063625" cy="37941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328" name="AutoShape 12"/>
          <p:cNvCxnSpPr>
            <a:cxnSpLocks noChangeShapeType="1"/>
            <a:stCxn id="56342" idx="3"/>
            <a:endCxn id="56341" idx="1"/>
          </p:cNvCxnSpPr>
          <p:nvPr>
            <p:custDataLst>
              <p:tags r:id="rId5"/>
            </p:custDataLst>
          </p:nvPr>
        </p:nvCxnSpPr>
        <p:spPr bwMode="auto">
          <a:xfrm>
            <a:off x="5297488" y="5265738"/>
            <a:ext cx="1063625" cy="37782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329" name="AutoShape 14"/>
          <p:cNvCxnSpPr>
            <a:cxnSpLocks noChangeShapeType="1"/>
            <a:stCxn id="56337" idx="1"/>
            <a:endCxn id="56343" idx="3"/>
          </p:cNvCxnSpPr>
          <p:nvPr>
            <p:custDataLst>
              <p:tags r:id="rId6"/>
            </p:custDataLst>
          </p:nvPr>
        </p:nvCxnSpPr>
        <p:spPr bwMode="auto">
          <a:xfrm rot="10800000" flipV="1">
            <a:off x="2771775" y="2222500"/>
            <a:ext cx="1063625" cy="1530350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330" name="AutoShape 15"/>
          <p:cNvCxnSpPr>
            <a:cxnSpLocks noChangeShapeType="1"/>
            <a:stCxn id="56343" idx="3"/>
            <a:endCxn id="56342" idx="1"/>
          </p:cNvCxnSpPr>
          <p:nvPr>
            <p:custDataLst>
              <p:tags r:id="rId7"/>
            </p:custDataLst>
          </p:nvPr>
        </p:nvCxnSpPr>
        <p:spPr bwMode="auto">
          <a:xfrm>
            <a:off x="2771775" y="3752850"/>
            <a:ext cx="1063625" cy="151288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56334" name="AutoShape 93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0" name="think-cell Slide" r:id="rId19" imgW="0" imgH="0" progId="">
                  <p:embed/>
                </p:oleObj>
              </mc:Choice>
              <mc:Fallback>
                <p:oleObj name="think-cell Slide" r:id="rId19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 algn="ctr">
              <a:defRPr/>
            </a:pPr>
            <a:r>
              <a:rPr lang="nl-NL" sz="1200">
                <a:sym typeface="+mn-lt"/>
              </a:rPr>
              <a:t>100%</a:t>
            </a:r>
          </a:p>
        </p:txBody>
      </p:sp>
      <p:sp>
        <p:nvSpPr>
          <p:cNvPr id="56337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835400" y="1916113"/>
            <a:ext cx="1462088" cy="6127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Generados</a:t>
            </a:r>
            <a:r>
              <a:rPr lang="en-US" altLang="ja-JP" sz="1400" b="1" dirty="0" smtClean="0">
                <a:solidFill>
                  <a:schemeClr val="bg1"/>
                </a:solidFill>
                <a:ea typeface="ＭＳ Ｐゴシック" pitchFamily="34" charset="-128"/>
              </a:rPr>
              <a:t> </a:t>
            </a:r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por</a:t>
            </a:r>
            <a:r>
              <a:rPr lang="en-US" altLang="ja-JP" sz="1400" b="1" dirty="0" smtClean="0">
                <a:solidFill>
                  <a:schemeClr val="bg1"/>
                </a:solidFill>
                <a:ea typeface="ＭＳ Ｐゴシック" pitchFamily="34" charset="-128"/>
              </a:rPr>
              <a:t> el </a:t>
            </a:r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activo</a:t>
            </a:r>
            <a:endParaRPr lang="en-US" altLang="ja-JP" sz="14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56338" name="Rectangle 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361113" y="1555750"/>
            <a:ext cx="1462087" cy="6127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Activos</a:t>
            </a:r>
            <a:r>
              <a:rPr lang="en-US" altLang="ja-JP" sz="1400" b="1" dirty="0" smtClean="0">
                <a:solidFill>
                  <a:schemeClr val="bg1"/>
                </a:solidFill>
                <a:ea typeface="ＭＳ Ｐゴシック" pitchFamily="34" charset="-128"/>
              </a:rPr>
              <a:t> </a:t>
            </a:r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operativos</a:t>
            </a:r>
            <a:endParaRPr lang="en-US" altLang="ja-JP" sz="14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56339" name="Rectangle 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361113" y="2311400"/>
            <a:ext cx="1462087" cy="6127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Activos</a:t>
            </a:r>
            <a:r>
              <a:rPr lang="en-US" altLang="ja-JP" sz="1400" b="1" dirty="0" smtClean="0">
                <a:solidFill>
                  <a:schemeClr val="bg1"/>
                </a:solidFill>
                <a:ea typeface="ＭＳ Ｐゴシック" pitchFamily="34" charset="-128"/>
              </a:rPr>
              <a:t> </a:t>
            </a:r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financieros</a:t>
            </a:r>
            <a:endParaRPr lang="en-US" altLang="ja-JP" sz="14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56340" name="Rectangle 8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361113" y="4579938"/>
            <a:ext cx="1462087" cy="6127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Pasivos</a:t>
            </a:r>
            <a:r>
              <a:rPr lang="en-US" altLang="ja-JP" sz="1400" b="1" dirty="0" smtClean="0">
                <a:solidFill>
                  <a:schemeClr val="bg1"/>
                </a:solidFill>
                <a:ea typeface="ＭＳ Ｐゴシック" pitchFamily="34" charset="-128"/>
              </a:rPr>
              <a:t> </a:t>
            </a:r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operativos</a:t>
            </a:r>
            <a:endParaRPr lang="en-US" altLang="ja-JP" sz="14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56341" name="Rectangle 9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361113" y="5337175"/>
            <a:ext cx="1462087" cy="6127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Pasivos</a:t>
            </a:r>
            <a:r>
              <a:rPr lang="en-US" altLang="ja-JP" sz="1400" b="1" dirty="0" smtClean="0">
                <a:solidFill>
                  <a:schemeClr val="bg1"/>
                </a:solidFill>
                <a:ea typeface="ＭＳ Ｐゴシック" pitchFamily="34" charset="-128"/>
              </a:rPr>
              <a:t> </a:t>
            </a:r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financieros</a:t>
            </a:r>
            <a:endParaRPr lang="en-US" altLang="ja-JP" sz="14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56342" name="Rectangle 1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835400" y="4959350"/>
            <a:ext cx="1462088" cy="6127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Generados</a:t>
            </a:r>
            <a:r>
              <a:rPr lang="en-US" altLang="ja-JP" sz="1400" b="1" dirty="0" smtClean="0">
                <a:solidFill>
                  <a:schemeClr val="bg1"/>
                </a:solidFill>
                <a:ea typeface="ＭＳ Ｐゴシック" pitchFamily="34" charset="-128"/>
              </a:rPr>
              <a:t> </a:t>
            </a:r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por</a:t>
            </a:r>
            <a:r>
              <a:rPr lang="en-US" altLang="ja-JP" sz="1400" b="1" dirty="0" smtClean="0">
                <a:solidFill>
                  <a:schemeClr val="bg1"/>
                </a:solidFill>
                <a:ea typeface="ＭＳ Ｐゴシック" pitchFamily="34" charset="-128"/>
              </a:rPr>
              <a:t> el </a:t>
            </a:r>
            <a:r>
              <a:rPr lang="en-US" altLang="ja-JP" sz="1400" b="1" dirty="0" err="1" smtClean="0">
                <a:solidFill>
                  <a:schemeClr val="bg1"/>
                </a:solidFill>
                <a:ea typeface="ＭＳ Ｐゴシック" pitchFamily="34" charset="-128"/>
              </a:rPr>
              <a:t>pasivo</a:t>
            </a:r>
            <a:endParaRPr lang="en-US" altLang="ja-JP" sz="14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56343" name="Rectangle 1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308100" y="3446463"/>
            <a:ext cx="1463675" cy="6127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altLang="ja-JP" sz="1400" b="1" dirty="0" smtClean="0">
                <a:solidFill>
                  <a:schemeClr val="bg1"/>
                </a:solidFill>
                <a:ea typeface="ＭＳ Ｐゴシック" pitchFamily="34" charset="-128"/>
              </a:rPr>
              <a:t>RESULTADOS FINANCIEROS</a:t>
            </a:r>
            <a:endParaRPr lang="en-US" altLang="ja-JP" sz="14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pic>
        <p:nvPicPr>
          <p:cNvPr id="19" name="Picture 5"/>
          <p:cNvPicPr>
            <a:picLocks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20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2537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67544" y="1700808"/>
            <a:ext cx="8229600" cy="4464496"/>
          </a:xfrm>
        </p:spPr>
        <p:txBody>
          <a:bodyPr>
            <a:normAutofit fontScale="55000" lnSpcReduction="20000"/>
          </a:bodyPr>
          <a:lstStyle/>
          <a:p>
            <a:pPr marL="761238" indent="-742950"/>
            <a:endParaRPr lang="es-AR" sz="3600" dirty="0" smtClean="0"/>
          </a:p>
          <a:p>
            <a:pPr marL="589788" indent="-571500">
              <a:buFontTx/>
              <a:buChar char="-"/>
            </a:pPr>
            <a:r>
              <a:rPr lang="es-ES" sz="3600" dirty="0" smtClean="0"/>
              <a:t>Esta es una clasificación que subsiste en las normas argentinas, pero que ya no existe en las normas internacionales.</a:t>
            </a:r>
          </a:p>
          <a:p>
            <a:pPr marL="18288" indent="0">
              <a:buNone/>
            </a:pPr>
            <a:endParaRPr lang="es-ES" sz="3600" dirty="0" smtClean="0"/>
          </a:p>
          <a:p>
            <a:pPr marL="589788" indent="-571500">
              <a:buFontTx/>
              <a:buChar char="-"/>
            </a:pPr>
            <a:r>
              <a:rPr lang="es-ES" sz="3600" dirty="0" smtClean="0"/>
              <a:t>Resultados ordinarios: son todos los resultados del ente acaecidos durante el ejercicio, excepto los resultados extraordinarios.</a:t>
            </a:r>
          </a:p>
          <a:p>
            <a:pPr marL="589788" indent="-571500">
              <a:buFontTx/>
              <a:buChar char="-"/>
            </a:pPr>
            <a:endParaRPr lang="es-AR" sz="3600" dirty="0"/>
          </a:p>
          <a:p>
            <a:pPr marL="589788" indent="-571500">
              <a:buFontTx/>
              <a:buChar char="-"/>
            </a:pPr>
            <a:r>
              <a:rPr lang="es-ES" sz="3600" dirty="0" smtClean="0"/>
              <a:t>Resultados extraordinarios: comprende los resultados atípicos y excepcionales acaecidos durante el ejercicio, de suceso infrecuente en el pasado y de comportamiento similar esperado en el futuro, </a:t>
            </a:r>
            <a:r>
              <a:rPr lang="es-ES" sz="3600" i="1" dirty="0" smtClean="0"/>
              <a:t>generados por factores ajenos a las decisiones propias del ente, tales como expropiación de activos y siniestros.</a:t>
            </a:r>
            <a:endParaRPr lang="es-AR" sz="3600" b="1" i="1" dirty="0" smtClean="0"/>
          </a:p>
          <a:p>
            <a:pPr marL="418338" lvl="1" indent="0">
              <a:buNone/>
            </a:pPr>
            <a:endParaRPr lang="es-AR" b="1" dirty="0" smtClean="0"/>
          </a:p>
          <a:p>
            <a:pPr marL="18288" indent="0">
              <a:buNone/>
            </a:pPr>
            <a:endParaRPr lang="es-AR" sz="4000" dirty="0" smtClean="0"/>
          </a:p>
          <a:p>
            <a:endParaRPr lang="es-ES_tradnl" dirty="0" smtClean="0"/>
          </a:p>
          <a:p>
            <a:endParaRPr lang="es-AR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23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Rectángulo"/>
          <p:cNvSpPr/>
          <p:nvPr/>
        </p:nvSpPr>
        <p:spPr>
          <a:xfrm>
            <a:off x="1498110" y="1052736"/>
            <a:ext cx="60286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_tradnl" sz="2800" b="1" dirty="0" smtClean="0"/>
              <a:t>Resultados ordinarios y extraordinarios</a:t>
            </a:r>
            <a:endParaRPr lang="es-AR" sz="2800" b="1" dirty="0"/>
          </a:p>
        </p:txBody>
      </p:sp>
    </p:spTree>
    <p:extLst>
      <p:ext uri="{BB962C8B-B14F-4D97-AF65-F5344CB8AC3E}">
        <p14:creationId xmlns:p14="http://schemas.microsoft.com/office/powerpoint/2010/main" val="371384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620688"/>
            <a:ext cx="8458200" cy="914400"/>
          </a:xfrm>
        </p:spPr>
        <p:txBody>
          <a:bodyPr/>
          <a:lstStyle/>
          <a:p>
            <a:pPr eaLnBrk="1" hangingPunct="1"/>
            <a:r>
              <a:rPr lang="es-ES_tradnl" sz="2800" dirty="0" smtClean="0">
                <a:ea typeface="ＭＳ Ｐゴシック" charset="-128"/>
              </a:rPr>
              <a:t>Ejercicio – Periodicidad</a:t>
            </a:r>
          </a:p>
        </p:txBody>
      </p:sp>
      <p:sp>
        <p:nvSpPr>
          <p:cNvPr id="1896451" name="Rectangle 3"/>
          <p:cNvSpPr>
            <a:spLocks noGrp="1" noChangeArrowheads="1"/>
          </p:cNvSpPr>
          <p:nvPr>
            <p:ph idx="1"/>
          </p:nvPr>
        </p:nvSpPr>
        <p:spPr>
          <a:xfrm>
            <a:off x="323851" y="1340767"/>
            <a:ext cx="8568630" cy="5040561"/>
          </a:xfrm>
        </p:spPr>
        <p:txBody>
          <a:bodyPr>
            <a:normAutofit lnSpcReduction="10000"/>
          </a:bodyPr>
          <a:lstStyle/>
          <a:p>
            <a:pPr marL="495300" indent="-419100" eaLnBrk="1" hangingPunct="1">
              <a:lnSpc>
                <a:spcPct val="105000"/>
              </a:lnSpc>
              <a:buFont typeface="Arial" pitchFamily="34" charset="0"/>
              <a:buChar char="•"/>
            </a:pPr>
            <a:r>
              <a:rPr lang="es-ES_tradnl" sz="16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Normalmente la legislación o las regulaciones establecen la frecuencia con que deben presentarse los estados contables.</a:t>
            </a:r>
          </a:p>
          <a:p>
            <a:pPr marL="852488" lvl="2" indent="-419100">
              <a:lnSpc>
                <a:spcPct val="105000"/>
              </a:lnSpc>
            </a:pPr>
            <a:r>
              <a:rPr lang="es-ES_tradnl" sz="16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Usualmente anual o trimestral</a:t>
            </a:r>
          </a:p>
          <a:p>
            <a:pPr marL="495300" indent="-419100" eaLnBrk="1" hangingPunct="1">
              <a:lnSpc>
                <a:spcPct val="105000"/>
              </a:lnSpc>
              <a:buFont typeface="Arial" pitchFamily="34" charset="0"/>
              <a:buChar char="•"/>
            </a:pPr>
            <a:r>
              <a:rPr lang="es-ES_tradnl" sz="16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Los estados de resultados, de evolución del patrimonio neto y de flujo de efectivo se  refieren a un período.</a:t>
            </a:r>
          </a:p>
          <a:p>
            <a:pPr marL="495300" indent="-419100" eaLnBrk="1" hangingPunct="1">
              <a:lnSpc>
                <a:spcPct val="105000"/>
              </a:lnSpc>
              <a:buFont typeface="Arial" pitchFamily="34" charset="0"/>
              <a:buChar char="•"/>
            </a:pPr>
            <a:r>
              <a:rPr lang="es-ES_tradnl" sz="16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El estado de situación patrimonial se refiere a la situación a una fecha determinada, la de cierre del período o ejercicio.</a:t>
            </a:r>
          </a:p>
          <a:p>
            <a:pPr marL="495300" indent="-419100" eaLnBrk="1" hangingPunct="1">
              <a:lnSpc>
                <a:spcPct val="105000"/>
              </a:lnSpc>
              <a:buFont typeface="Arial" pitchFamily="34" charset="0"/>
              <a:buChar char="•"/>
            </a:pPr>
            <a:r>
              <a:rPr lang="es-ES_tradnl" sz="16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Usualmente el ejercicio es de un año y a algunas entidades se les requiere presentar estados contables de períodos intermedios (usualmente trimestrales).</a:t>
            </a:r>
          </a:p>
          <a:p>
            <a:pPr marL="495300" indent="-419100" eaLnBrk="1" hangingPunct="1">
              <a:lnSpc>
                <a:spcPct val="105000"/>
              </a:lnSpc>
              <a:buFont typeface="Arial" pitchFamily="34" charset="0"/>
              <a:buChar char="•"/>
            </a:pPr>
            <a:r>
              <a:rPr lang="es-ES_tradnl" sz="16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Cuando un ente cambia su fecha de cierre, entonces se produce un ejercicio irregular (en Argentina inferior al año).</a:t>
            </a:r>
          </a:p>
          <a:p>
            <a:pPr marL="495300" indent="-419100" eaLnBrk="1" hangingPunct="1">
              <a:lnSpc>
                <a:spcPct val="105000"/>
              </a:lnSpc>
              <a:buFont typeface="Arial" pitchFamily="34" charset="0"/>
              <a:buChar char="•"/>
            </a:pPr>
            <a:r>
              <a:rPr lang="es-ES_tradnl" sz="16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La existencia de ejercicios o períodos introduce la necesidad de asignar los resultados a los períodos o ejercicios correspondientes.</a:t>
            </a:r>
          </a:p>
          <a:p>
            <a:pPr marL="495300" indent="-419100" eaLnBrk="1" hangingPunct="1">
              <a:lnSpc>
                <a:spcPct val="105000"/>
              </a:lnSpc>
              <a:buFont typeface="Arial" pitchFamily="34" charset="0"/>
              <a:buChar char="•"/>
            </a:pPr>
            <a:r>
              <a:rPr lang="es-ES_tradnl" sz="16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Usualmente se denomina ejercicio al anual (ejercicio económico o fiscal) y períodos a los intermedios dentro de un ejercicio.</a:t>
            </a:r>
          </a:p>
          <a:p>
            <a:pPr marL="495300" indent="-419100" eaLnBrk="1" hangingPunct="1">
              <a:lnSpc>
                <a:spcPct val="105000"/>
              </a:lnSpc>
              <a:buFont typeface="Arial" pitchFamily="34" charset="0"/>
              <a:buChar char="•"/>
            </a:pPr>
            <a:endParaRPr lang="es-ES_tradnl" sz="1600" dirty="0" smtClean="0">
              <a:solidFill>
                <a:srgbClr val="000090"/>
              </a:solidFill>
              <a:latin typeface="Arial" charset="0"/>
              <a:ea typeface="ＭＳ Ｐゴシック" charset="-128"/>
              <a:cs typeface="Arial" charset="0"/>
            </a:endParaRPr>
          </a:p>
          <a:p>
            <a:pPr marL="76200" algn="ctr" eaLnBrk="1" hangingPunct="1">
              <a:lnSpc>
                <a:spcPct val="105000"/>
              </a:lnSpc>
              <a:buNone/>
            </a:pPr>
            <a:r>
              <a:rPr lang="es-ES_tradnl" sz="1600" b="1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	     PROBLEMA IMPORTANTE DE LA CONTABILIDAD: </a:t>
            </a:r>
          </a:p>
          <a:p>
            <a:pPr marL="76200" algn="ctr" eaLnBrk="1" hangingPunct="1">
              <a:lnSpc>
                <a:spcPct val="105000"/>
              </a:lnSpc>
              <a:buNone/>
            </a:pPr>
            <a:r>
              <a:rPr lang="es-ES_tradnl" sz="1600" b="1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      ASIGNAR LOS RESULTADOS A CADA EJERCICIO</a:t>
            </a:r>
          </a:p>
        </p:txBody>
      </p:sp>
      <p:sp>
        <p:nvSpPr>
          <p:cNvPr id="7171" name="Marcador de número de diapositiva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1A0AF29F-A3DF-4912-A0C2-874953BBA8BA}" type="slidenum">
              <a:rPr lang="es-ES" sz="1200" smtClean="0">
                <a:solidFill>
                  <a:srgbClr val="000090"/>
                </a:solidFill>
              </a:rPr>
              <a:pPr eaLnBrk="1" hangingPunct="1"/>
              <a:t>24</a:t>
            </a:fld>
            <a:endParaRPr lang="es-ES" sz="1200" smtClean="0">
              <a:solidFill>
                <a:srgbClr val="000090"/>
              </a:solidFill>
            </a:endParaRPr>
          </a:p>
        </p:txBody>
      </p:sp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6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2267744" y="5445224"/>
            <a:ext cx="5040560" cy="7200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627942999"/>
      </p:ext>
    </p:extLst>
  </p:cSld>
  <p:clrMapOvr>
    <a:masterClrMapping/>
  </p:clrMapOvr>
  <p:transition>
    <p:randomBar dir="vert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692696"/>
            <a:ext cx="8458200" cy="914400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es-ES_tradnl" sz="2800" dirty="0" smtClean="0">
                <a:ea typeface="ＭＳ Ｐゴシック" charset="-128"/>
              </a:rPr>
              <a:t>Estados contables consolidados, separados, individuales y combinados</a:t>
            </a:r>
          </a:p>
        </p:txBody>
      </p:sp>
      <p:sp>
        <p:nvSpPr>
          <p:cNvPr id="1896451" name="Rectangle 3"/>
          <p:cNvSpPr>
            <a:spLocks noGrp="1" noChangeArrowheads="1"/>
          </p:cNvSpPr>
          <p:nvPr>
            <p:ph idx="1"/>
          </p:nvPr>
        </p:nvSpPr>
        <p:spPr>
          <a:xfrm>
            <a:off x="323528" y="1772816"/>
            <a:ext cx="8568630" cy="4176464"/>
          </a:xfrm>
        </p:spPr>
        <p:txBody>
          <a:bodyPr>
            <a:normAutofit lnSpcReduction="10000"/>
          </a:bodyPr>
          <a:lstStyle/>
          <a:p>
            <a:pPr marL="375879" lvl="2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es-ES_tradnl" sz="1600" b="1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ESTADOS CONTABLES CONSOLIDADOS</a:t>
            </a:r>
          </a:p>
          <a:p>
            <a:pPr marL="558441" lvl="3" indent="-285750">
              <a:lnSpc>
                <a:spcPct val="105000"/>
              </a:lnSpc>
            </a:pPr>
            <a:r>
              <a:rPr lang="es-ES_tradnl" sz="14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Son los estados del grupo económico integrado por la sociedad controladora y las sociedades controladas</a:t>
            </a:r>
          </a:p>
          <a:p>
            <a:pPr marL="558441" lvl="3" indent="-285750">
              <a:lnSpc>
                <a:spcPct val="105000"/>
              </a:lnSpc>
            </a:pPr>
            <a:endParaRPr lang="es-ES_tradnl" sz="1400" b="1" dirty="0">
              <a:solidFill>
                <a:srgbClr val="000090"/>
              </a:solidFill>
              <a:latin typeface="Arial" charset="0"/>
              <a:ea typeface="ＭＳ Ｐゴシック" charset="-128"/>
              <a:cs typeface="Arial" charset="0"/>
            </a:endParaRPr>
          </a:p>
          <a:p>
            <a:pPr marL="375879" lvl="2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es-ES_tradnl" sz="1600" b="1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ESTADOS CONTABLES SEPARADOS</a:t>
            </a:r>
          </a:p>
          <a:p>
            <a:pPr marL="691039" lvl="3" indent="-419100">
              <a:lnSpc>
                <a:spcPct val="105000"/>
              </a:lnSpc>
            </a:pPr>
            <a:r>
              <a:rPr lang="es-ES_tradnl" sz="14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Son los estados de la sociedad controladora.</a:t>
            </a:r>
          </a:p>
          <a:p>
            <a:pPr marL="691039" lvl="3" indent="-419100">
              <a:lnSpc>
                <a:spcPct val="105000"/>
              </a:lnSpc>
            </a:pPr>
            <a:r>
              <a:rPr lang="es-ES_tradnl" sz="14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En los estados separados, la inversión en las sociedades controladas aparece en el rubro inversiones (participaciones en sociedades controladas)</a:t>
            </a:r>
          </a:p>
          <a:p>
            <a:pPr marL="271939" lvl="3" indent="0">
              <a:lnSpc>
                <a:spcPct val="105000"/>
              </a:lnSpc>
              <a:buNone/>
            </a:pPr>
            <a:endParaRPr lang="es-ES_tradnl" sz="1400" dirty="0" smtClean="0">
              <a:solidFill>
                <a:srgbClr val="000090"/>
              </a:solidFill>
              <a:latin typeface="Arial" charset="0"/>
              <a:ea typeface="ＭＳ Ｐゴシック" charset="-128"/>
              <a:cs typeface="Arial" charset="0"/>
            </a:endParaRPr>
          </a:p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es-ES_tradnl" sz="1600" b="1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ESTADOS INDIVIDUALES</a:t>
            </a:r>
          </a:p>
          <a:p>
            <a:pPr marL="468313" lvl="1" indent="-285750">
              <a:lnSpc>
                <a:spcPct val="105000"/>
              </a:lnSpc>
            </a:pPr>
            <a:r>
              <a:rPr lang="es-ES_tradnl" sz="16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Son los estados de una sociedad que no tiene sociedades controladas</a:t>
            </a:r>
          </a:p>
          <a:p>
            <a:pPr>
              <a:lnSpc>
                <a:spcPct val="105000"/>
              </a:lnSpc>
            </a:pPr>
            <a:endParaRPr lang="es-ES_tradnl" sz="1600" dirty="0" smtClean="0">
              <a:solidFill>
                <a:srgbClr val="000090"/>
              </a:solidFill>
              <a:latin typeface="Arial" charset="0"/>
              <a:ea typeface="ＭＳ Ｐゴシック" charset="-128"/>
              <a:cs typeface="Arial" charset="0"/>
            </a:endParaRPr>
          </a:p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es-ES_tradnl" sz="1600" b="1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ESTADOS COMBINADOS</a:t>
            </a:r>
          </a:p>
          <a:p>
            <a:pPr marL="468313" lvl="1" indent="-285750">
              <a:lnSpc>
                <a:spcPct val="105000"/>
              </a:lnSpc>
            </a:pPr>
            <a:r>
              <a:rPr lang="es-ES_tradnl" sz="16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Son los estados de un conjunto de sociedades bajo control común de una o más </a:t>
            </a:r>
            <a:r>
              <a:rPr lang="es-ES_tradnl" sz="160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personas físicas.</a:t>
            </a:r>
            <a:endParaRPr lang="es-ES_tradnl" sz="1600" dirty="0" smtClean="0">
              <a:solidFill>
                <a:srgbClr val="000090"/>
              </a:solidFill>
              <a:latin typeface="Arial" charset="0"/>
              <a:ea typeface="ＭＳ Ｐゴシック" charset="-128"/>
              <a:cs typeface="Arial" charset="0"/>
            </a:endParaRPr>
          </a:p>
          <a:p>
            <a:pPr marL="468313" lvl="1" indent="-285750">
              <a:lnSpc>
                <a:spcPct val="105000"/>
              </a:lnSpc>
            </a:pPr>
            <a:endParaRPr lang="es-ES_tradnl" sz="1600" dirty="0">
              <a:solidFill>
                <a:srgbClr val="000090"/>
              </a:solidFill>
              <a:latin typeface="Arial" charset="0"/>
              <a:ea typeface="ＭＳ Ｐゴシック" charset="-128"/>
              <a:cs typeface="Arial" charset="0"/>
            </a:endParaRPr>
          </a:p>
          <a:p>
            <a:pPr marL="285750" indent="-285750">
              <a:lnSpc>
                <a:spcPct val="105000"/>
              </a:lnSpc>
            </a:pPr>
            <a:endParaRPr lang="es-ES_tradnl" sz="1600" dirty="0" smtClean="0">
              <a:solidFill>
                <a:srgbClr val="000090"/>
              </a:solidFill>
              <a:latin typeface="Arial" charset="0"/>
              <a:ea typeface="ＭＳ Ｐゴシック" charset="-128"/>
              <a:cs typeface="Arial" charset="0"/>
            </a:endParaRPr>
          </a:p>
          <a:p>
            <a:pPr>
              <a:lnSpc>
                <a:spcPct val="105000"/>
              </a:lnSpc>
            </a:pPr>
            <a:endParaRPr lang="es-ES_tradnl" sz="1600" b="1" dirty="0" smtClean="0">
              <a:solidFill>
                <a:srgbClr val="000090"/>
              </a:solidFill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7171" name="Marcador de número de diapositiva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5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1A0AF29F-A3DF-4912-A0C2-874953BBA8BA}" type="slidenum">
              <a:rPr lang="es-ES" sz="1200" smtClean="0">
                <a:solidFill>
                  <a:srgbClr val="000090"/>
                </a:solidFill>
              </a:rPr>
              <a:pPr eaLnBrk="1" hangingPunct="1"/>
              <a:t>25</a:t>
            </a:fld>
            <a:endParaRPr lang="es-ES" sz="1200" smtClean="0">
              <a:solidFill>
                <a:srgbClr val="000090"/>
              </a:solidFill>
            </a:endParaRPr>
          </a:p>
        </p:txBody>
      </p:sp>
      <p:pic>
        <p:nvPicPr>
          <p:cNvPr id="5" name="Picture 5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6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83568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6821"/>
      </p:ext>
    </p:extLst>
  </p:cSld>
  <p:clrMapOvr>
    <a:masterClrMapping/>
  </p:clrMapOvr>
  <p:transition>
    <p:randomBar dir="vert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5"/>
          <p:cNvSpPr>
            <a:spLocks noGrp="1" noChangeArrowheads="1"/>
          </p:cNvSpPr>
          <p:nvPr>
            <p:ph type="body" sz="quarter" idx="17"/>
          </p:nvPr>
        </p:nvSpPr>
        <p:spPr>
          <a:xfrm>
            <a:off x="251520" y="620688"/>
            <a:ext cx="8560515" cy="635483"/>
          </a:xfrm>
        </p:spPr>
        <p:txBody>
          <a:bodyPr/>
          <a:lstStyle/>
          <a:p>
            <a:r>
              <a:rPr lang="es-ES_tradnl" sz="2800" dirty="0">
                <a:ea typeface="ＭＳ Ｐゴシック" charset="-128"/>
              </a:rPr>
              <a:t>Empresa en marcha</a:t>
            </a:r>
            <a:endParaRPr lang="es-AR" sz="2800" noProof="0" dirty="0" smtClean="0"/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8DDF857-466D-43E6-BEE2-7712FBF27DB2}" type="slidenum">
              <a:rPr lang="es-ES" altLang="en-US" smtClean="0"/>
              <a:pPr/>
              <a:t>26</a:t>
            </a:fld>
            <a:endParaRPr lang="es-ES" altLang="en-US" smtClean="0"/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>
          <a:xfrm>
            <a:off x="323850" y="1268413"/>
            <a:ext cx="8583613" cy="5112915"/>
          </a:xfrm>
          <a:prstGeom prst="rect">
            <a:avLst/>
          </a:prstGeom>
        </p:spPr>
        <p:txBody>
          <a:bodyPr/>
          <a:lstStyle>
            <a:lvl1pPr marL="325672" indent="-325672" algn="l" defTabSz="43423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100" kern="120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defRPr>
            </a:lvl1pPr>
            <a:lvl2pPr marL="707015" indent="-271394" algn="l" defTabSz="43423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ヒラギノ角ゴ Pro W3" charset="0"/>
                <a:cs typeface="+mn-cs"/>
              </a:defRPr>
            </a:lvl2pPr>
            <a:lvl3pPr marL="1089749" indent="-217115" algn="l" defTabSz="43423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ヒラギノ角ゴ Pro W3" charset="0"/>
                <a:cs typeface="+mn-cs"/>
              </a:defRPr>
            </a:lvl3pPr>
            <a:lvl4pPr marL="1525370" indent="-217115" algn="l" defTabSz="43423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ヒラギノ角ゴ Pro W3" charset="0"/>
                <a:cs typeface="+mn-cs"/>
              </a:defRPr>
            </a:lvl4pPr>
            <a:lvl5pPr marL="1962383" indent="-217115" algn="l" defTabSz="43423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ヒラギノ角ゴ Pro W3" charset="0"/>
                <a:cs typeface="+mn-cs"/>
              </a:defRPr>
            </a:lvl5pPr>
            <a:lvl6pPr marL="2399830" indent="-218167" algn="l" defTabSz="436333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6163" indent="-218167" algn="l" defTabSz="436333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496" indent="-218167" algn="l" defTabSz="436333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8829" indent="-218167" algn="l" defTabSz="436333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19100" indent="-342900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Font typeface="Wingdings" charset="2"/>
              <a:buChar char="q"/>
            </a:pPr>
            <a:r>
              <a:rPr lang="es-ES_tradnl" sz="20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Los estados financieros son normalmente preparados bajo el supuesto de que la entidad es una empresa en marcha y que </a:t>
            </a:r>
            <a:r>
              <a:rPr lang="es-ES_tradnl" sz="2000" u="sng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continuará en operación por el futuro previsible</a:t>
            </a:r>
            <a:r>
              <a:rPr lang="es-ES_tradnl" sz="20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.</a:t>
            </a:r>
          </a:p>
          <a:p>
            <a:pPr marL="419100" indent="-342900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Font typeface="Wingdings" charset="2"/>
              <a:buChar char="q"/>
            </a:pPr>
            <a:r>
              <a:rPr lang="es-ES_tradnl" sz="2000" dirty="0" smtClean="0">
                <a:solidFill>
                  <a:srgbClr val="0000FF"/>
                </a:solidFill>
                <a:latin typeface="Arial" charset="0"/>
                <a:ea typeface="ＭＳ Ｐゴシック" charset="-128"/>
                <a:cs typeface="Arial" charset="0"/>
              </a:rPr>
              <a:t>Por lo tanto se asume que la entidad no tiene la intención ni la necesidad de liquidarse o reducir significativamente la escala de sus operaciones.</a:t>
            </a:r>
          </a:p>
          <a:p>
            <a:pPr marL="419100" indent="-342900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Font typeface="Wingdings" charset="2"/>
              <a:buChar char="q"/>
            </a:pPr>
            <a:r>
              <a:rPr lang="es-ES_tradnl" sz="2000" dirty="0" smtClean="0">
                <a:solidFill>
                  <a:srgbClr val="000090"/>
                </a:solidFill>
                <a:latin typeface="Arial" charset="0"/>
                <a:ea typeface="ＭＳ Ｐゴシック" charset="-128"/>
                <a:cs typeface="Arial" charset="0"/>
              </a:rPr>
              <a:t>Si dicha intención o necesidad existiese, entonces los estados financieros pueden tener que prepararse sobre bases distintas y, en tal caso, dichas bases deben ser reveladas.</a:t>
            </a:r>
          </a:p>
        </p:txBody>
      </p:sp>
      <p:pic>
        <p:nvPicPr>
          <p:cNvPr id="5" name="Picture 5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6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7838058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5"/>
          <p:cNvSpPr>
            <a:spLocks noGrp="1" noChangeArrowheads="1"/>
          </p:cNvSpPr>
          <p:nvPr>
            <p:ph type="body" sz="quarter" idx="17"/>
          </p:nvPr>
        </p:nvSpPr>
        <p:spPr>
          <a:xfrm>
            <a:off x="251520" y="548680"/>
            <a:ext cx="8560515" cy="635483"/>
          </a:xfrm>
        </p:spPr>
        <p:txBody>
          <a:bodyPr/>
          <a:lstStyle/>
          <a:p>
            <a:r>
              <a:rPr lang="es-AR" noProof="0" dirty="0" smtClean="0"/>
              <a:t>Capital de Trabajo – Enfoque I</a:t>
            </a:r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360000" y="6570000"/>
            <a:ext cx="360000" cy="45719"/>
          </a:xfrm>
        </p:spPr>
        <p:txBody>
          <a:bodyPr/>
          <a:lstStyle/>
          <a:p>
            <a:fld id="{48DDF857-466D-43E6-BEE2-7712FBF27DB2}" type="slidenum">
              <a:rPr lang="en-US" altLang="en-US" smtClean="0"/>
              <a:pPr/>
              <a:t>27</a:t>
            </a:fld>
            <a:endParaRPr lang="en-US" altLang="en-US" dirty="0" smtClean="0"/>
          </a:p>
        </p:txBody>
      </p:sp>
      <p:cxnSp>
        <p:nvCxnSpPr>
          <p:cNvPr id="6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2 Conector recto"/>
          <p:cNvCxnSpPr/>
          <p:nvPr/>
        </p:nvCxnSpPr>
        <p:spPr>
          <a:xfrm>
            <a:off x="323528" y="404664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3 Conector recto"/>
          <p:cNvCxnSpPr/>
          <p:nvPr/>
        </p:nvCxnSpPr>
        <p:spPr>
          <a:xfrm>
            <a:off x="467544" y="47667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5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sp>
        <p:nvSpPr>
          <p:cNvPr id="11" name="Rectangle 10"/>
          <p:cNvSpPr/>
          <p:nvPr/>
        </p:nvSpPr>
        <p:spPr>
          <a:xfrm>
            <a:off x="683568" y="1844824"/>
            <a:ext cx="2232248" cy="21602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s-AR" sz="1600" b="1" dirty="0" smtClean="0">
                <a:solidFill>
                  <a:srgbClr val="00B050"/>
                </a:solidFill>
              </a:rPr>
              <a:t>Créditos operativos</a:t>
            </a:r>
          </a:p>
          <a:p>
            <a:endParaRPr lang="es-AR" sz="1600" b="1" dirty="0" smtClean="0">
              <a:solidFill>
                <a:srgbClr val="00B050"/>
              </a:solidFill>
            </a:endParaRPr>
          </a:p>
          <a:p>
            <a:r>
              <a:rPr lang="es-AR" sz="1600" b="1" dirty="0" smtClean="0">
                <a:solidFill>
                  <a:srgbClr val="00B050"/>
                </a:solidFill>
              </a:rPr>
              <a:t>Bienes de Cambio</a:t>
            </a:r>
          </a:p>
          <a:p>
            <a:endParaRPr lang="es-AR" sz="1600" b="1" dirty="0">
              <a:solidFill>
                <a:srgbClr val="00B050"/>
              </a:solidFill>
            </a:endParaRPr>
          </a:p>
          <a:p>
            <a:r>
              <a:rPr lang="es-AR" sz="1600" b="1" dirty="0" smtClean="0">
                <a:solidFill>
                  <a:srgbClr val="00B050"/>
                </a:solidFill>
              </a:rPr>
              <a:t>(ACTIVOS OPERATIVOS)</a:t>
            </a:r>
            <a:endParaRPr lang="es-AR" sz="1600" b="1" dirty="0">
              <a:solidFill>
                <a:srgbClr val="00B05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635896" y="1844824"/>
            <a:ext cx="2088232" cy="21602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600" b="1" dirty="0" smtClean="0">
                <a:solidFill>
                  <a:srgbClr val="FF0000"/>
                </a:solidFill>
              </a:rPr>
              <a:t>Deudas comerciales</a:t>
            </a:r>
          </a:p>
          <a:p>
            <a:pPr algn="ctr"/>
            <a:endParaRPr lang="es-AR" sz="1600" b="1" dirty="0" smtClean="0">
              <a:solidFill>
                <a:srgbClr val="FF0000"/>
              </a:solidFill>
            </a:endParaRPr>
          </a:p>
          <a:p>
            <a:pPr algn="ctr"/>
            <a:r>
              <a:rPr lang="es-AR" sz="1600" b="1" dirty="0" smtClean="0">
                <a:solidFill>
                  <a:srgbClr val="FF0000"/>
                </a:solidFill>
              </a:rPr>
              <a:t>Deudas sociales</a:t>
            </a:r>
          </a:p>
          <a:p>
            <a:pPr algn="ctr"/>
            <a:endParaRPr lang="es-AR" sz="1600" b="1" dirty="0" smtClean="0">
              <a:solidFill>
                <a:srgbClr val="FF0000"/>
              </a:solidFill>
            </a:endParaRPr>
          </a:p>
          <a:p>
            <a:pPr algn="ctr"/>
            <a:r>
              <a:rPr lang="es-AR" sz="1600" b="1" dirty="0" smtClean="0">
                <a:solidFill>
                  <a:srgbClr val="FF0000"/>
                </a:solidFill>
              </a:rPr>
              <a:t>Deudas fiscales</a:t>
            </a:r>
          </a:p>
          <a:p>
            <a:pPr algn="ctr"/>
            <a:endParaRPr lang="es-AR" sz="1600" b="1" dirty="0">
              <a:solidFill>
                <a:srgbClr val="FF0000"/>
              </a:solidFill>
            </a:endParaRPr>
          </a:p>
          <a:p>
            <a:pPr algn="ctr"/>
            <a:r>
              <a:rPr lang="es-AR" sz="1600" b="1" dirty="0" smtClean="0">
                <a:solidFill>
                  <a:srgbClr val="FF0000"/>
                </a:solidFill>
              </a:rPr>
              <a:t>(PASIVOS OPERATIVOS)</a:t>
            </a:r>
            <a:endParaRPr lang="es-AR" sz="1600" b="1" dirty="0">
              <a:solidFill>
                <a:srgbClr val="FF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16216" y="1844824"/>
            <a:ext cx="2088232" cy="21602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apital </a:t>
            </a:r>
          </a:p>
          <a:p>
            <a:pPr algn="ctr"/>
            <a:endParaRPr lang="es-AR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s-A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e</a:t>
            </a:r>
          </a:p>
          <a:p>
            <a:pPr algn="ctr"/>
            <a:endParaRPr lang="es-AR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s-A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Trabajo</a:t>
            </a:r>
            <a:endParaRPr lang="es-AR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15816" y="2708920"/>
            <a:ext cx="5760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3600" dirty="0" smtClean="0"/>
              <a:t>-</a:t>
            </a:r>
            <a:endParaRPr lang="es-AR" sz="3600" dirty="0"/>
          </a:p>
        </p:txBody>
      </p:sp>
      <p:sp>
        <p:nvSpPr>
          <p:cNvPr id="15" name="TextBox 14"/>
          <p:cNvSpPr txBox="1"/>
          <p:nvPr/>
        </p:nvSpPr>
        <p:spPr>
          <a:xfrm>
            <a:off x="5796136" y="2636912"/>
            <a:ext cx="5760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3600" dirty="0" smtClean="0"/>
              <a:t>=</a:t>
            </a:r>
            <a:endParaRPr lang="es-AR" sz="3600" dirty="0"/>
          </a:p>
        </p:txBody>
      </p:sp>
      <p:sp>
        <p:nvSpPr>
          <p:cNvPr id="16" name="Right Brace 15"/>
          <p:cNvSpPr/>
          <p:nvPr/>
        </p:nvSpPr>
        <p:spPr>
          <a:xfrm rot="5400000">
            <a:off x="3059832" y="1844824"/>
            <a:ext cx="288032" cy="5040560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7" name="TextBox 16"/>
          <p:cNvSpPr txBox="1"/>
          <p:nvPr/>
        </p:nvSpPr>
        <p:spPr>
          <a:xfrm>
            <a:off x="683568" y="4869160"/>
            <a:ext cx="5112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b="1" dirty="0" smtClean="0"/>
              <a:t>Reflejo de las </a:t>
            </a:r>
            <a:r>
              <a:rPr lang="es-AR" b="1" smtClean="0"/>
              <a:t>actividades operativas</a:t>
            </a:r>
            <a:endParaRPr lang="es-AR" b="1" dirty="0" smtClean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74924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5"/>
          <p:cNvSpPr>
            <a:spLocks noGrp="1" noChangeArrowheads="1"/>
          </p:cNvSpPr>
          <p:nvPr>
            <p:ph type="body" sz="quarter" idx="17"/>
          </p:nvPr>
        </p:nvSpPr>
        <p:spPr>
          <a:xfrm>
            <a:off x="251520" y="548680"/>
            <a:ext cx="8560515" cy="635483"/>
          </a:xfrm>
        </p:spPr>
        <p:txBody>
          <a:bodyPr/>
          <a:lstStyle/>
          <a:p>
            <a:r>
              <a:rPr lang="es-AR" noProof="0" dirty="0" smtClean="0"/>
              <a:t>Capital de Trabajo – Enfoque II</a:t>
            </a:r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360000" y="6570000"/>
            <a:ext cx="360000" cy="45719"/>
          </a:xfrm>
        </p:spPr>
        <p:txBody>
          <a:bodyPr/>
          <a:lstStyle/>
          <a:p>
            <a:fld id="{48DDF857-466D-43E6-BEE2-7712FBF27DB2}" type="slidenum">
              <a:rPr lang="en-US" altLang="en-US" smtClean="0"/>
              <a:pPr/>
              <a:t>28</a:t>
            </a:fld>
            <a:endParaRPr lang="en-US" altLang="en-US" dirty="0" smtClean="0"/>
          </a:p>
        </p:txBody>
      </p:sp>
      <p:cxnSp>
        <p:nvCxnSpPr>
          <p:cNvPr id="6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2 Conector recto"/>
          <p:cNvCxnSpPr/>
          <p:nvPr/>
        </p:nvCxnSpPr>
        <p:spPr>
          <a:xfrm>
            <a:off x="323528" y="404664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3 Conector recto"/>
          <p:cNvCxnSpPr/>
          <p:nvPr/>
        </p:nvCxnSpPr>
        <p:spPr>
          <a:xfrm>
            <a:off x="467544" y="47667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5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sp>
        <p:nvSpPr>
          <p:cNvPr id="11" name="Rectangle 10"/>
          <p:cNvSpPr/>
          <p:nvPr/>
        </p:nvSpPr>
        <p:spPr>
          <a:xfrm>
            <a:off x="683568" y="1844824"/>
            <a:ext cx="2088232" cy="21602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s-AR" sz="1600" b="1" dirty="0" smtClean="0">
                <a:solidFill>
                  <a:srgbClr val="00B050"/>
                </a:solidFill>
              </a:rPr>
              <a:t>Caja y Bancos</a:t>
            </a:r>
          </a:p>
          <a:p>
            <a:endParaRPr lang="es-AR" sz="1600" b="1" dirty="0" smtClean="0">
              <a:solidFill>
                <a:srgbClr val="00B050"/>
              </a:solidFill>
            </a:endParaRPr>
          </a:p>
          <a:p>
            <a:r>
              <a:rPr lang="es-AR" sz="1600" b="1" dirty="0" smtClean="0">
                <a:solidFill>
                  <a:srgbClr val="00B050"/>
                </a:solidFill>
              </a:rPr>
              <a:t>Créditos Operativos</a:t>
            </a:r>
          </a:p>
          <a:p>
            <a:endParaRPr lang="es-AR" sz="1600" b="1" dirty="0" smtClean="0">
              <a:solidFill>
                <a:srgbClr val="00B050"/>
              </a:solidFill>
            </a:endParaRPr>
          </a:p>
          <a:p>
            <a:r>
              <a:rPr lang="es-AR" sz="1600" b="1" dirty="0" smtClean="0">
                <a:solidFill>
                  <a:srgbClr val="00B050"/>
                </a:solidFill>
              </a:rPr>
              <a:t>Bienes de Cambio</a:t>
            </a:r>
            <a:endParaRPr lang="es-AR" sz="1600" b="1" dirty="0">
              <a:solidFill>
                <a:srgbClr val="00B05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635896" y="1844824"/>
            <a:ext cx="2088232" cy="21602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600" b="1" dirty="0" smtClean="0">
                <a:solidFill>
                  <a:srgbClr val="FF0000"/>
                </a:solidFill>
              </a:rPr>
              <a:t>Deudas comerciales</a:t>
            </a:r>
          </a:p>
          <a:p>
            <a:pPr algn="ctr"/>
            <a:endParaRPr lang="es-AR" sz="1600" b="1" dirty="0" smtClean="0">
              <a:solidFill>
                <a:srgbClr val="FF0000"/>
              </a:solidFill>
            </a:endParaRPr>
          </a:p>
          <a:p>
            <a:pPr algn="ctr"/>
            <a:r>
              <a:rPr lang="es-AR" sz="1600" b="1" dirty="0" smtClean="0">
                <a:solidFill>
                  <a:srgbClr val="FF0000"/>
                </a:solidFill>
              </a:rPr>
              <a:t>Deudas sociales</a:t>
            </a:r>
          </a:p>
          <a:p>
            <a:pPr algn="ctr"/>
            <a:endParaRPr lang="es-AR" sz="1600" b="1" dirty="0" smtClean="0">
              <a:solidFill>
                <a:srgbClr val="FF0000"/>
              </a:solidFill>
            </a:endParaRPr>
          </a:p>
          <a:p>
            <a:pPr algn="ctr"/>
            <a:r>
              <a:rPr lang="es-AR" sz="1600" b="1" dirty="0" smtClean="0">
                <a:solidFill>
                  <a:srgbClr val="FF0000"/>
                </a:solidFill>
              </a:rPr>
              <a:t>Deudas fiscales</a:t>
            </a:r>
            <a:endParaRPr lang="es-AR" sz="1600" b="1" dirty="0">
              <a:solidFill>
                <a:srgbClr val="FF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16216" y="1844824"/>
            <a:ext cx="2088232" cy="21602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apital </a:t>
            </a:r>
          </a:p>
          <a:p>
            <a:pPr algn="ctr"/>
            <a:endParaRPr lang="es-AR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s-A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e</a:t>
            </a:r>
          </a:p>
          <a:p>
            <a:pPr algn="ctr"/>
            <a:endParaRPr lang="es-AR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s-AR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Trabajo</a:t>
            </a:r>
            <a:endParaRPr lang="es-AR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15816" y="2708920"/>
            <a:ext cx="5760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3600" dirty="0" smtClean="0"/>
              <a:t>-</a:t>
            </a:r>
            <a:endParaRPr lang="es-AR" sz="3600" dirty="0"/>
          </a:p>
        </p:txBody>
      </p:sp>
      <p:sp>
        <p:nvSpPr>
          <p:cNvPr id="15" name="TextBox 14"/>
          <p:cNvSpPr txBox="1"/>
          <p:nvPr/>
        </p:nvSpPr>
        <p:spPr>
          <a:xfrm>
            <a:off x="5796136" y="2636912"/>
            <a:ext cx="5760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3600" dirty="0" smtClean="0"/>
              <a:t>=</a:t>
            </a:r>
            <a:endParaRPr lang="es-AR" sz="3600" dirty="0"/>
          </a:p>
        </p:txBody>
      </p:sp>
      <p:sp>
        <p:nvSpPr>
          <p:cNvPr id="16" name="Right Brace 15"/>
          <p:cNvSpPr/>
          <p:nvPr/>
        </p:nvSpPr>
        <p:spPr>
          <a:xfrm rot="5400000">
            <a:off x="3059832" y="1844824"/>
            <a:ext cx="288032" cy="5040560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17" name="TextBox 16"/>
          <p:cNvSpPr txBox="1"/>
          <p:nvPr/>
        </p:nvSpPr>
        <p:spPr>
          <a:xfrm>
            <a:off x="683568" y="4869160"/>
            <a:ext cx="5112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b="1" dirty="0" smtClean="0"/>
              <a:t>Reflejo de las actividades operativas</a:t>
            </a:r>
            <a:endParaRPr lang="es-AR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74924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188640"/>
            <a:ext cx="648072" cy="4766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25344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597352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764704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83671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0 Conector recto"/>
          <p:cNvCxnSpPr/>
          <p:nvPr/>
        </p:nvCxnSpPr>
        <p:spPr>
          <a:xfrm>
            <a:off x="4644008" y="2276872"/>
            <a:ext cx="0" cy="40324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92080" y="3573016"/>
            <a:ext cx="2659063" cy="151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59632" y="3140968"/>
            <a:ext cx="2659063" cy="192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17 CuadroTexto"/>
          <p:cNvSpPr txBox="1"/>
          <p:nvPr/>
        </p:nvSpPr>
        <p:spPr>
          <a:xfrm>
            <a:off x="5364088" y="3068960"/>
            <a:ext cx="10801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000" b="1" dirty="0" smtClean="0"/>
              <a:t>Activos Netos</a:t>
            </a:r>
            <a:endParaRPr lang="es-AR" sz="1000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6804248" y="3068960"/>
            <a:ext cx="10801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000" b="1" dirty="0" err="1" smtClean="0"/>
              <a:t>Debts</a:t>
            </a:r>
            <a:r>
              <a:rPr lang="es-AR" sz="1000" b="1" dirty="0" smtClean="0"/>
              <a:t> + </a:t>
            </a:r>
            <a:r>
              <a:rPr lang="es-AR" sz="1000" b="1" dirty="0" err="1" smtClean="0"/>
              <a:t>Equity</a:t>
            </a:r>
            <a:endParaRPr lang="es-AR" sz="1000" b="1" dirty="0"/>
          </a:p>
        </p:txBody>
      </p:sp>
      <p:sp>
        <p:nvSpPr>
          <p:cNvPr id="16" name="15 CuadroTexto"/>
          <p:cNvSpPr txBox="1"/>
          <p:nvPr/>
        </p:nvSpPr>
        <p:spPr>
          <a:xfrm>
            <a:off x="1475656" y="2708920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000" b="1" dirty="0" smtClean="0"/>
              <a:t>Activo</a:t>
            </a:r>
            <a:endParaRPr lang="es-AR" sz="1000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3059832" y="2708920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000" b="1" dirty="0" smtClean="0"/>
              <a:t>P + PN</a:t>
            </a:r>
            <a:endParaRPr lang="es-AR" sz="1000" b="1" dirty="0"/>
          </a:p>
        </p:txBody>
      </p:sp>
      <p:sp>
        <p:nvSpPr>
          <p:cNvPr id="2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29</a:t>
            </a:fld>
            <a:endParaRPr lang="es-AR" dirty="0"/>
          </a:p>
        </p:txBody>
      </p:sp>
      <p:sp>
        <p:nvSpPr>
          <p:cNvPr id="2" name="TextBox 1"/>
          <p:cNvSpPr txBox="1"/>
          <p:nvPr/>
        </p:nvSpPr>
        <p:spPr>
          <a:xfrm>
            <a:off x="1907704" y="2276872"/>
            <a:ext cx="58126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dirty="0" smtClean="0"/>
              <a:t>Mirada clásica                                                  Mirada financiera</a:t>
            </a:r>
          </a:p>
          <a:p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315053336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3</a:t>
            </a:fld>
            <a:endParaRPr lang="es-AR" dirty="0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3"/>
          <p:cNvSpPr txBox="1">
            <a:spLocks noChangeArrowheads="1"/>
          </p:cNvSpPr>
          <p:nvPr/>
        </p:nvSpPr>
        <p:spPr>
          <a:xfrm>
            <a:off x="2627784" y="4869160"/>
            <a:ext cx="2088232" cy="143193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/>
          </a:bodyPr>
          <a:lstStyle/>
          <a:p>
            <a:pPr marL="812800" indent="-812800"/>
            <a:r>
              <a:rPr lang="es-ES_tradnl" sz="2400" b="1" dirty="0" smtClean="0">
                <a:solidFill>
                  <a:schemeClr val="bg1"/>
                </a:solidFill>
              </a:rPr>
              <a:t>Patrimonio Neto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251520" y="836712"/>
            <a:ext cx="8352928" cy="1584176"/>
          </a:xfrm>
        </p:spPr>
        <p:txBody>
          <a:bodyPr>
            <a:normAutofit fontScale="90000"/>
          </a:bodyPr>
          <a:lstStyle/>
          <a:p>
            <a:r>
              <a:rPr lang="es-ES_tradnl" sz="2800" b="1" dirty="0" smtClean="0">
                <a:solidFill>
                  <a:srgbClr val="000000"/>
                </a:solidFill>
              </a:rPr>
              <a:t>ESTADO DE SITUACIÓN PATRIMONIAL o BALANCE GENERAL  </a:t>
            </a:r>
            <a:br>
              <a:rPr lang="es-ES_tradnl" sz="2800" b="1" dirty="0" smtClean="0">
                <a:solidFill>
                  <a:srgbClr val="000000"/>
                </a:solidFill>
              </a:rPr>
            </a:br>
            <a:r>
              <a:rPr lang="es-ES_tradnl" sz="2800" b="1" dirty="0" smtClean="0">
                <a:solidFill>
                  <a:srgbClr val="000000"/>
                </a:solidFill>
              </a:rPr>
              <a:t>(NIIF: Estado de Situación Financiera)</a:t>
            </a:r>
            <a:br>
              <a:rPr lang="es-ES_tradnl" sz="2800" b="1" dirty="0" smtClean="0">
                <a:solidFill>
                  <a:srgbClr val="000000"/>
                </a:solidFill>
              </a:rPr>
            </a:br>
            <a:endParaRPr lang="es-ES_tradnl" sz="2800" dirty="0" smtClean="0">
              <a:solidFill>
                <a:srgbClr val="000000"/>
              </a:solidFill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3923928" y="26064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r"/>
            <a:r>
              <a:rPr lang="es-ES_tradnl" sz="1200" dirty="0" smtClean="0"/>
              <a:t>El Activo, el Pasivo y el Patrimonio Neto</a:t>
            </a: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>
          <a:xfrm>
            <a:off x="2627784" y="4221088"/>
            <a:ext cx="2088232" cy="656302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/>
          </a:bodyPr>
          <a:lstStyle/>
          <a:p>
            <a:pPr marL="812800" indent="-812800"/>
            <a:r>
              <a:rPr lang="es-ES_tradnl" sz="2400" b="1" dirty="0" smtClean="0">
                <a:solidFill>
                  <a:schemeClr val="bg1"/>
                </a:solidFill>
              </a:rPr>
              <a:t>Pasivo</a:t>
            </a:r>
            <a:endParaRPr lang="es-ES_tradnl" sz="2800" b="1" dirty="0" smtClean="0">
              <a:solidFill>
                <a:schemeClr val="bg1"/>
              </a:solidFill>
            </a:endParaRPr>
          </a:p>
        </p:txBody>
      </p:sp>
      <p:sp>
        <p:nvSpPr>
          <p:cNvPr id="15" name="Rectangle 3"/>
          <p:cNvSpPr txBox="1">
            <a:spLocks noChangeArrowheads="1"/>
          </p:cNvSpPr>
          <p:nvPr/>
        </p:nvSpPr>
        <p:spPr>
          <a:xfrm>
            <a:off x="539552" y="4221088"/>
            <a:ext cx="2088232" cy="2088232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/>
          </a:bodyPr>
          <a:lstStyle/>
          <a:p>
            <a:pPr marL="812800" indent="-812800"/>
            <a:r>
              <a:rPr lang="es-ES_tradnl" sz="2600" dirty="0" smtClean="0"/>
              <a:t> </a:t>
            </a:r>
            <a:r>
              <a:rPr lang="es-ES_tradnl" sz="2800" b="1" dirty="0" smtClean="0">
                <a:solidFill>
                  <a:schemeClr val="bg1"/>
                </a:solidFill>
              </a:rPr>
              <a:t>Activo</a:t>
            </a:r>
          </a:p>
        </p:txBody>
      </p:sp>
      <p:sp>
        <p:nvSpPr>
          <p:cNvPr id="16" name="15 Rectángulo"/>
          <p:cNvSpPr/>
          <p:nvPr/>
        </p:nvSpPr>
        <p:spPr>
          <a:xfrm>
            <a:off x="971600" y="2060848"/>
            <a:ext cx="734481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12800" indent="-812800" algn="ctr"/>
            <a:r>
              <a:rPr lang="es-ES_tradnl" b="1" i="1" dirty="0" smtClean="0">
                <a:solidFill>
                  <a:srgbClr val="000000"/>
                </a:solidFill>
              </a:rPr>
              <a:t>Exposición de los elementos patrimoniales: A = P + PN</a:t>
            </a:r>
          </a:p>
          <a:p>
            <a:pPr marL="812800" indent="-812800" algn="ctr"/>
            <a:r>
              <a:rPr lang="es-ES_tradnl" b="1" i="1" dirty="0" smtClean="0">
                <a:solidFill>
                  <a:srgbClr val="000000"/>
                </a:solidFill>
              </a:rPr>
              <a:t>Pertenecientes a una persona física o jurídica</a:t>
            </a:r>
          </a:p>
          <a:p>
            <a:pPr marL="812800" indent="-812800" algn="ctr"/>
            <a:r>
              <a:rPr lang="es-ES_tradnl" b="1" i="1" dirty="0" smtClean="0">
                <a:solidFill>
                  <a:srgbClr val="000000"/>
                </a:solidFill>
              </a:rPr>
              <a:t>A una fecha determinada</a:t>
            </a:r>
          </a:p>
          <a:p>
            <a:pPr marL="812800" indent="-812800" algn="ctr"/>
            <a:r>
              <a:rPr lang="es-ES_tradnl" b="1" u="sng" dirty="0" smtClean="0">
                <a:solidFill>
                  <a:srgbClr val="000000"/>
                </a:solidFill>
              </a:rPr>
              <a:t>UNA FOTOGRAFIA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539552" y="3717032"/>
            <a:ext cx="4608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dirty="0" smtClean="0"/>
              <a:t>Estado de Situación Patrimonial al  .............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3920715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2 Conector recto"/>
          <p:cNvCxnSpPr/>
          <p:nvPr/>
        </p:nvCxnSpPr>
        <p:spPr>
          <a:xfrm>
            <a:off x="323528" y="404664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3 Conector recto"/>
          <p:cNvCxnSpPr/>
          <p:nvPr/>
        </p:nvCxnSpPr>
        <p:spPr>
          <a:xfrm>
            <a:off x="467544" y="47667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5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251520" y="564178"/>
            <a:ext cx="8560515" cy="6354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A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Análisis</a:t>
            </a:r>
            <a:r>
              <a:rPr kumimoji="0" lang="es-AR" sz="3200" b="1" i="0" u="none" strike="noStrike" kern="120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del ESP y del ER: </a:t>
            </a:r>
            <a:r>
              <a:rPr kumimoji="0" lang="es-A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ndicadores</a:t>
            </a:r>
            <a:r>
              <a:rPr kumimoji="0" lang="es-AR" sz="3200" b="1" i="0" u="none" strike="noStrike" kern="120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y márgenes</a:t>
            </a:r>
            <a:endParaRPr kumimoji="0" lang="es-AR" sz="3200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340963" y="1239864"/>
            <a:ext cx="82141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043608" y="2348880"/>
            <a:ext cx="74888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2800" dirty="0" smtClean="0"/>
              <a:t>Son relaciones entre cifras de los </a:t>
            </a:r>
          </a:p>
          <a:p>
            <a:pPr algn="ctr"/>
            <a:r>
              <a:rPr lang="es-AR" sz="2800" dirty="0" smtClean="0"/>
              <a:t>Estados Contables que hacen visible información adicional útil para el análisis del ente.</a:t>
            </a:r>
            <a:endParaRPr lang="es-AR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63226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2 Conector recto"/>
          <p:cNvCxnSpPr/>
          <p:nvPr/>
        </p:nvCxnSpPr>
        <p:spPr>
          <a:xfrm>
            <a:off x="323528" y="404664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3 Conector recto"/>
          <p:cNvCxnSpPr/>
          <p:nvPr/>
        </p:nvCxnSpPr>
        <p:spPr>
          <a:xfrm>
            <a:off x="467544" y="47667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5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pic>
        <p:nvPicPr>
          <p:cNvPr id="83969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3488" y="2235253"/>
            <a:ext cx="7691258" cy="3375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251520" y="564178"/>
            <a:ext cx="8560515" cy="6354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A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Rentabilidad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340963" y="1239864"/>
            <a:ext cx="82141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1863226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2 Conector recto"/>
          <p:cNvCxnSpPr/>
          <p:nvPr/>
        </p:nvCxnSpPr>
        <p:spPr>
          <a:xfrm>
            <a:off x="323528" y="404664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3 Conector recto"/>
          <p:cNvCxnSpPr/>
          <p:nvPr/>
        </p:nvCxnSpPr>
        <p:spPr>
          <a:xfrm>
            <a:off x="467544" y="47667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5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251520" y="564178"/>
            <a:ext cx="8560515" cy="6354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A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Rentabilidad del</a:t>
            </a:r>
            <a:r>
              <a:rPr kumimoji="0" lang="es-AR" sz="3200" b="1" i="0" u="none" strike="noStrike" kern="120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negocio y del accionista</a:t>
            </a:r>
            <a:endParaRPr kumimoji="0" lang="es-AR" sz="3200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340963" y="1239864"/>
            <a:ext cx="82141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9079" y="3481411"/>
            <a:ext cx="8179506" cy="1365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909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6942" y="1844824"/>
            <a:ext cx="8090115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extBox 1"/>
          <p:cNvSpPr txBox="1"/>
          <p:nvPr/>
        </p:nvSpPr>
        <p:spPr>
          <a:xfrm>
            <a:off x="251520" y="4918664"/>
            <a:ext cx="89515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dirty="0" smtClean="0"/>
              <a:t>El resultado del negocio es el resultado final sin considerar los resultados financieros</a:t>
            </a:r>
          </a:p>
          <a:p>
            <a:r>
              <a:rPr lang="es-AR" smtClean="0"/>
              <a:t>del pasivo.</a:t>
            </a:r>
            <a:endParaRPr lang="es-AR" dirty="0" smtClean="0"/>
          </a:p>
          <a:p>
            <a:endParaRPr lang="es-AR" dirty="0" smtClean="0"/>
          </a:p>
          <a:p>
            <a:r>
              <a:rPr lang="es-AR" dirty="0" smtClean="0"/>
              <a:t>Resultado del negocio – Resultado financiero del pasivo = Resultado del accionista = </a:t>
            </a:r>
            <a:r>
              <a:rPr lang="es-AR" dirty="0" err="1" smtClean="0"/>
              <a:t>R.neto</a:t>
            </a:r>
            <a:endParaRPr lang="es-AR" dirty="0" smtClean="0"/>
          </a:p>
          <a:p>
            <a:r>
              <a:rPr lang="es-AR" dirty="0" smtClean="0"/>
              <a:t>ESTE INDICADOR SE VERÁ CON MÁS DETALLE EN LA UNIDAD 1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16142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2 Conector recto"/>
          <p:cNvCxnSpPr/>
          <p:nvPr/>
        </p:nvCxnSpPr>
        <p:spPr>
          <a:xfrm>
            <a:off x="323528" y="404664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3 Conector recto"/>
          <p:cNvCxnSpPr/>
          <p:nvPr/>
        </p:nvCxnSpPr>
        <p:spPr>
          <a:xfrm>
            <a:off x="467544" y="47667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5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251520" y="564178"/>
            <a:ext cx="8560515" cy="6354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A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Márgene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340963" y="1239864"/>
            <a:ext cx="82141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0852" y="1952787"/>
            <a:ext cx="8714443" cy="3208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797164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2 Conector recto"/>
          <p:cNvCxnSpPr/>
          <p:nvPr/>
        </p:nvCxnSpPr>
        <p:spPr>
          <a:xfrm>
            <a:off x="323528" y="404664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3 Conector recto"/>
          <p:cNvCxnSpPr/>
          <p:nvPr/>
        </p:nvCxnSpPr>
        <p:spPr>
          <a:xfrm>
            <a:off x="467544" y="47667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5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pic>
        <p:nvPicPr>
          <p:cNvPr id="86017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43004" y="1640843"/>
            <a:ext cx="7757840" cy="3905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5"/>
          <p:cNvSpPr txBox="1">
            <a:spLocks noChangeArrowheads="1"/>
          </p:cNvSpPr>
          <p:nvPr/>
        </p:nvSpPr>
        <p:spPr>
          <a:xfrm>
            <a:off x="251520" y="564178"/>
            <a:ext cx="8560515" cy="63548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A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ndicadore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340963" y="1239864"/>
            <a:ext cx="82141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6972937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4</a:t>
            </a:fld>
            <a:endParaRPr lang="es-AR" dirty="0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251520" y="836712"/>
            <a:ext cx="8352928" cy="1584176"/>
          </a:xfrm>
        </p:spPr>
        <p:txBody>
          <a:bodyPr>
            <a:normAutofit/>
          </a:bodyPr>
          <a:lstStyle/>
          <a:p>
            <a:r>
              <a:rPr lang="es-ES_tradnl" sz="2800" b="1" dirty="0" smtClean="0">
                <a:solidFill>
                  <a:srgbClr val="000000"/>
                </a:solidFill>
              </a:rPr>
              <a:t>ESTADO DE RESULTADOS  </a:t>
            </a:r>
            <a:br>
              <a:rPr lang="es-ES_tradnl" sz="2800" b="1" dirty="0" smtClean="0">
                <a:solidFill>
                  <a:srgbClr val="000000"/>
                </a:solidFill>
              </a:rPr>
            </a:br>
            <a:endParaRPr lang="es-ES_tradnl" sz="2800" dirty="0" smtClean="0">
              <a:solidFill>
                <a:srgbClr val="000000"/>
              </a:solidFill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3923928" y="26064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r"/>
            <a:r>
              <a:rPr lang="es-ES_tradnl" sz="1200" dirty="0" smtClean="0"/>
              <a:t>El Activo, el Pasivo y el Patrimonio Neto</a:t>
            </a:r>
          </a:p>
        </p:txBody>
      </p:sp>
      <p:sp>
        <p:nvSpPr>
          <p:cNvPr id="15" name="Rectangle 3"/>
          <p:cNvSpPr txBox="1">
            <a:spLocks noChangeArrowheads="1"/>
          </p:cNvSpPr>
          <p:nvPr/>
        </p:nvSpPr>
        <p:spPr>
          <a:xfrm>
            <a:off x="539552" y="4221088"/>
            <a:ext cx="2088232" cy="2088232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/>
          </a:bodyPr>
          <a:lstStyle/>
          <a:p>
            <a:pPr marL="812800" indent="-812800"/>
            <a:r>
              <a:rPr lang="es-ES_tradnl" sz="2600" dirty="0" smtClean="0"/>
              <a:t> </a:t>
            </a:r>
            <a:r>
              <a:rPr lang="es-ES_tradnl" sz="2800" b="1" dirty="0" smtClean="0">
                <a:solidFill>
                  <a:schemeClr val="bg1"/>
                </a:solidFill>
              </a:rPr>
              <a:t>Ingresos</a:t>
            </a:r>
          </a:p>
          <a:p>
            <a:pPr marL="812800" indent="-812800"/>
            <a:r>
              <a:rPr lang="es-ES_tradnl" sz="1400" b="1" dirty="0" smtClean="0">
                <a:solidFill>
                  <a:schemeClr val="bg1"/>
                </a:solidFill>
              </a:rPr>
              <a:t>Menos</a:t>
            </a:r>
          </a:p>
          <a:p>
            <a:pPr marL="812800" indent="-812800"/>
            <a:r>
              <a:rPr lang="es-ES_tradnl" sz="2800" b="1" dirty="0" smtClean="0">
                <a:solidFill>
                  <a:schemeClr val="bg1"/>
                </a:solidFill>
              </a:rPr>
              <a:t> Gastos</a:t>
            </a:r>
          </a:p>
          <a:p>
            <a:pPr marL="812800" indent="-812800"/>
            <a:r>
              <a:rPr lang="es-ES_tradnl" sz="1400" b="1" dirty="0" smtClean="0">
                <a:solidFill>
                  <a:schemeClr val="bg1"/>
                </a:solidFill>
              </a:rPr>
              <a:t>=</a:t>
            </a:r>
          </a:p>
          <a:p>
            <a:pPr marL="812800" indent="-812800"/>
            <a:r>
              <a:rPr lang="es-ES_tradnl" sz="2800" b="1" dirty="0" smtClean="0">
                <a:solidFill>
                  <a:schemeClr val="bg1"/>
                </a:solidFill>
              </a:rPr>
              <a:t>Resultado</a:t>
            </a:r>
          </a:p>
          <a:p>
            <a:pPr marL="812800" indent="-812800"/>
            <a:endParaRPr lang="es-ES_tradnl" sz="1400" b="1" dirty="0">
              <a:solidFill>
                <a:schemeClr val="bg1"/>
              </a:solidFill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971600" y="2060848"/>
            <a:ext cx="734481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12800" indent="-812800" algn="ctr"/>
            <a:r>
              <a:rPr lang="es-ES_tradnl" b="1" i="1" dirty="0" smtClean="0">
                <a:solidFill>
                  <a:srgbClr val="000000"/>
                </a:solidFill>
              </a:rPr>
              <a:t>Exposición de los elementos que componen el resultado del ejercicio</a:t>
            </a:r>
          </a:p>
          <a:p>
            <a:pPr marL="812800" indent="-812800" algn="ctr"/>
            <a:r>
              <a:rPr lang="es-ES_tradnl" b="1" i="1" dirty="0" smtClean="0">
                <a:solidFill>
                  <a:srgbClr val="000000"/>
                </a:solidFill>
              </a:rPr>
              <a:t>Pertenecientes a una persona física o jurídica</a:t>
            </a:r>
          </a:p>
          <a:p>
            <a:pPr marL="812800" indent="-812800" algn="ctr"/>
            <a:r>
              <a:rPr lang="es-ES_tradnl" b="1" i="1" dirty="0" smtClean="0">
                <a:solidFill>
                  <a:srgbClr val="000000"/>
                </a:solidFill>
              </a:rPr>
              <a:t>Correspondientes a un período</a:t>
            </a:r>
          </a:p>
          <a:p>
            <a:pPr marL="812800" indent="-812800" algn="ctr"/>
            <a:r>
              <a:rPr lang="es-ES_tradnl" b="1" u="sng" dirty="0" smtClean="0">
                <a:solidFill>
                  <a:srgbClr val="000000"/>
                </a:solidFill>
              </a:rPr>
              <a:t>UNA PELÍCULA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539552" y="3717032"/>
            <a:ext cx="69847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dirty="0" smtClean="0"/>
              <a:t>Estado de Resultados por el ejercicio terminado el………………………………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2594160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5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7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67544" y="296652"/>
            <a:ext cx="8219256" cy="1120986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altLang="es-AR" sz="3200" dirty="0" smtClean="0"/>
              <a:t/>
            </a:r>
            <a:br>
              <a:rPr lang="en-US" altLang="es-AR" sz="3200" dirty="0" smtClean="0"/>
            </a:br>
            <a:r>
              <a:rPr lang="en-US" altLang="es-AR" sz="3200" dirty="0" err="1" smtClean="0"/>
              <a:t>Estructura</a:t>
            </a:r>
            <a:r>
              <a:rPr lang="en-US" altLang="es-AR" sz="3200" dirty="0" smtClean="0"/>
              <a:t> del Estado de </a:t>
            </a:r>
            <a:r>
              <a:rPr lang="en-US" altLang="es-AR" sz="3200" dirty="0" err="1" smtClean="0"/>
              <a:t>Situación</a:t>
            </a:r>
            <a:r>
              <a:rPr lang="en-US" altLang="es-AR" sz="3200" dirty="0" smtClean="0"/>
              <a:t> Patrimonial</a:t>
            </a:r>
            <a:br>
              <a:rPr lang="en-US" altLang="es-AR" sz="3200" dirty="0" smtClean="0"/>
            </a:br>
            <a:r>
              <a:rPr lang="en-US" altLang="es-AR" sz="1600" dirty="0" err="1" smtClean="0"/>
              <a:t>Modalidad</a:t>
            </a:r>
            <a:r>
              <a:rPr lang="en-US" altLang="es-AR" sz="1600" dirty="0" smtClean="0"/>
              <a:t> </a:t>
            </a:r>
            <a:r>
              <a:rPr lang="en-US" altLang="es-AR" sz="1600" dirty="0" err="1" smtClean="0"/>
              <a:t>argentina</a:t>
            </a:r>
            <a:r>
              <a:rPr lang="en-US" altLang="es-AR" sz="1600" dirty="0" smtClean="0"/>
              <a:t> (</a:t>
            </a:r>
            <a:r>
              <a:rPr lang="en-US" altLang="es-AR" sz="1600" dirty="0" err="1" smtClean="0"/>
              <a:t>reflejada</a:t>
            </a:r>
            <a:r>
              <a:rPr lang="en-US" altLang="es-AR" sz="1600" dirty="0" smtClean="0"/>
              <a:t> </a:t>
            </a:r>
            <a:r>
              <a:rPr lang="en-US" altLang="es-AR" sz="1600" dirty="0" err="1" smtClean="0"/>
              <a:t>en</a:t>
            </a:r>
            <a:r>
              <a:rPr lang="en-US" altLang="es-AR" sz="1600" dirty="0" smtClean="0"/>
              <a:t> las </a:t>
            </a:r>
            <a:r>
              <a:rPr lang="en-US" altLang="es-AR" sz="1600" dirty="0" err="1" smtClean="0"/>
              <a:t>normas</a:t>
            </a:r>
            <a:r>
              <a:rPr lang="en-US" altLang="es-AR" sz="1600" dirty="0" smtClean="0"/>
              <a:t> </a:t>
            </a:r>
            <a:r>
              <a:rPr lang="en-US" altLang="es-AR" sz="1600" dirty="0" err="1" smtClean="0"/>
              <a:t>argentinas</a:t>
            </a:r>
            <a:r>
              <a:rPr lang="en-US" altLang="es-AR" sz="1600" dirty="0" smtClean="0"/>
              <a:t>)</a:t>
            </a:r>
          </a:p>
        </p:txBody>
      </p:sp>
      <p:sp>
        <p:nvSpPr>
          <p:cNvPr id="21508" name="Slide Number Placeholder 14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553200" y="6356350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B62DFE0-0455-4D13-B2DF-04AAFE2A5E8B}" type="slidenum">
              <a:rPr lang="en-US" altLang="es-AR" sz="900" smtClean="0">
                <a:solidFill>
                  <a:schemeClr val="tx2"/>
                </a:solidFill>
              </a:rPr>
              <a:pPr eaLnBrk="1" hangingPunct="1"/>
              <a:t>5</a:t>
            </a:fld>
            <a:endParaRPr lang="en-US" altLang="es-AR" sz="900" smtClean="0">
              <a:solidFill>
                <a:schemeClr val="tx2"/>
              </a:solidFill>
            </a:endParaRPr>
          </a:p>
        </p:txBody>
      </p:sp>
      <p:grpSp>
        <p:nvGrpSpPr>
          <p:cNvPr id="21511" name="Group 3"/>
          <p:cNvGrpSpPr>
            <a:grpSpLocks/>
          </p:cNvGrpSpPr>
          <p:nvPr/>
        </p:nvGrpSpPr>
        <p:grpSpPr bwMode="auto">
          <a:xfrm>
            <a:off x="393700" y="1376364"/>
            <a:ext cx="3997325" cy="4932364"/>
            <a:chOff x="393698" y="1376361"/>
            <a:chExt cx="3997326" cy="4932364"/>
          </a:xfrm>
        </p:grpSpPr>
        <p:sp>
          <p:nvSpPr>
            <p:cNvPr id="21515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93699" y="1376361"/>
              <a:ext cx="3997325" cy="249678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>
              <a:lvl1pPr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en-US" altLang="es-A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516" name="Text Placeholder 5"/>
            <p:cNvSpPr txBox="1">
              <a:spLocks/>
            </p:cNvSpPr>
            <p:nvPr/>
          </p:nvSpPr>
          <p:spPr bwMode="auto">
            <a:xfrm>
              <a:off x="393698" y="1626041"/>
              <a:ext cx="3997325" cy="4682684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6000" tIns="36000" rIns="36000" bIns="36000"/>
            <a:lstStyle>
              <a:lvl1pPr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179388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358775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539750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ACTIVOS CORRIENTES</a:t>
              </a: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ACTIVOS NO CORRIENTES</a:t>
              </a: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 </a:t>
              </a: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TOTAL DEL ACTIVO</a:t>
              </a: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512" name="Group 22"/>
          <p:cNvGrpSpPr>
            <a:grpSpLocks/>
          </p:cNvGrpSpPr>
          <p:nvPr/>
        </p:nvGrpSpPr>
        <p:grpSpPr bwMode="auto">
          <a:xfrm>
            <a:off x="4751388" y="1376363"/>
            <a:ext cx="3997325" cy="4932362"/>
            <a:chOff x="393698" y="1376361"/>
            <a:chExt cx="3997326" cy="4932364"/>
          </a:xfrm>
        </p:grpSpPr>
        <p:sp>
          <p:nvSpPr>
            <p:cNvPr id="21513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3699" y="1376361"/>
              <a:ext cx="3997325" cy="249678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>
              <a:lvl1pPr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en-US" altLang="es-A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514" name="Text Placeholder 5"/>
            <p:cNvSpPr txBox="1">
              <a:spLocks/>
            </p:cNvSpPr>
            <p:nvPr/>
          </p:nvSpPr>
          <p:spPr bwMode="auto">
            <a:xfrm>
              <a:off x="393698" y="1626041"/>
              <a:ext cx="3997325" cy="4682684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6000" tIns="36000" rIns="36000" bIns="36000"/>
            <a:lstStyle>
              <a:lvl1pPr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179388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358775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539750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PASIVOS CORRIENTES</a:t>
              </a: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PASIVOS NO CORRIENTES</a:t>
              </a: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PATRIMONIO NETO</a:t>
              </a: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TOTAL DEL PASIVO Y P.NETO</a:t>
              </a:r>
              <a:endParaRPr lang="en-US" altLang="es-AR" sz="2000" dirty="0">
                <a:solidFill>
                  <a:schemeClr val="tx2"/>
                </a:solidFill>
              </a:endParaRPr>
            </a:p>
          </p:txBody>
        </p:sp>
      </p:grpSp>
      <p:pic>
        <p:nvPicPr>
          <p:cNvPr id="12" name="Picture 5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13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3649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5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7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altLang="es-AR" sz="1800" dirty="0" smtClean="0"/>
              <a:t/>
            </a:r>
            <a:br>
              <a:rPr lang="en-US" altLang="es-AR" sz="1800" dirty="0" smtClean="0"/>
            </a:br>
            <a:r>
              <a:rPr lang="en-US" altLang="es-AR" sz="2400" dirty="0" smtClean="0"/>
              <a:t>Estado de </a:t>
            </a:r>
            <a:r>
              <a:rPr lang="en-US" altLang="es-AR" sz="2400" dirty="0" err="1" smtClean="0"/>
              <a:t>SituaciónPatrimonial</a:t>
            </a:r>
            <a:r>
              <a:rPr lang="en-US" altLang="es-AR" sz="2400" dirty="0" smtClean="0"/>
              <a:t> </a:t>
            </a:r>
            <a:r>
              <a:rPr lang="en-US" altLang="es-AR" sz="1600" dirty="0" smtClean="0"/>
              <a:t>(o de </a:t>
            </a:r>
            <a:r>
              <a:rPr lang="en-US" altLang="es-AR" sz="1600" dirty="0" err="1" smtClean="0"/>
              <a:t>situación</a:t>
            </a:r>
            <a:r>
              <a:rPr lang="en-US" altLang="es-AR" sz="1600" dirty="0" smtClean="0"/>
              <a:t> </a:t>
            </a:r>
            <a:r>
              <a:rPr lang="en-US" altLang="es-AR" sz="1600" dirty="0" err="1" smtClean="0"/>
              <a:t>financiera</a:t>
            </a:r>
            <a:r>
              <a:rPr lang="en-US" altLang="es-AR" sz="1600" dirty="0" smtClean="0"/>
              <a:t>) </a:t>
            </a:r>
            <a:br>
              <a:rPr lang="en-US" altLang="es-AR" sz="1600" dirty="0" smtClean="0"/>
            </a:br>
            <a:r>
              <a:rPr lang="en-US" altLang="es-AR" sz="1400" dirty="0" err="1" smtClean="0"/>
              <a:t>Modalidad</a:t>
            </a:r>
            <a:r>
              <a:rPr lang="en-US" altLang="es-AR" sz="1400" dirty="0" smtClean="0"/>
              <a:t> </a:t>
            </a:r>
            <a:r>
              <a:rPr lang="en-US" altLang="es-AR" sz="1400" dirty="0" err="1" smtClean="0"/>
              <a:t>europea</a:t>
            </a:r>
            <a:r>
              <a:rPr lang="en-US" altLang="es-AR" sz="1400" dirty="0" smtClean="0"/>
              <a:t> (</a:t>
            </a:r>
            <a:r>
              <a:rPr lang="en-US" altLang="es-AR" sz="1400" dirty="0" err="1" smtClean="0"/>
              <a:t>adoptada</a:t>
            </a:r>
            <a:r>
              <a:rPr lang="en-US" altLang="es-AR" sz="1400" dirty="0" smtClean="0"/>
              <a:t> </a:t>
            </a:r>
            <a:r>
              <a:rPr lang="en-US" altLang="es-AR" sz="1400" dirty="0" err="1" smtClean="0"/>
              <a:t>por</a:t>
            </a:r>
            <a:r>
              <a:rPr lang="en-US" altLang="es-AR" sz="1400" dirty="0" smtClean="0"/>
              <a:t> </a:t>
            </a:r>
            <a:r>
              <a:rPr lang="en-US" altLang="es-AR" sz="1400" dirty="0" err="1" smtClean="0"/>
              <a:t>algunas</a:t>
            </a:r>
            <a:r>
              <a:rPr lang="en-US" altLang="es-AR" sz="1400" dirty="0" smtClean="0"/>
              <a:t> </a:t>
            </a:r>
            <a:r>
              <a:rPr lang="en-US" altLang="es-AR" sz="1400" dirty="0" err="1" smtClean="0"/>
              <a:t>empresas</a:t>
            </a:r>
            <a:r>
              <a:rPr lang="en-US" altLang="es-AR" sz="1400" dirty="0" smtClean="0"/>
              <a:t> que </a:t>
            </a:r>
            <a:r>
              <a:rPr lang="en-US" altLang="es-AR" sz="1400" dirty="0" err="1" smtClean="0"/>
              <a:t>aplican</a:t>
            </a:r>
            <a:r>
              <a:rPr lang="en-US" altLang="es-AR" sz="1400" dirty="0" smtClean="0"/>
              <a:t> las </a:t>
            </a:r>
            <a:r>
              <a:rPr lang="en-US" altLang="es-AR" sz="1400" dirty="0" err="1" smtClean="0"/>
              <a:t>normas</a:t>
            </a:r>
            <a:r>
              <a:rPr lang="en-US" altLang="es-AR" sz="1400" dirty="0" smtClean="0"/>
              <a:t> </a:t>
            </a:r>
            <a:r>
              <a:rPr lang="en-US" altLang="es-AR" sz="1400" dirty="0" err="1" smtClean="0"/>
              <a:t>internacionales</a:t>
            </a:r>
            <a:r>
              <a:rPr lang="en-US" altLang="es-AR" sz="1400" dirty="0" smtClean="0"/>
              <a:t>, </a:t>
            </a:r>
            <a:r>
              <a:rPr lang="en-US" altLang="es-AR" sz="1400" dirty="0" err="1" smtClean="0"/>
              <a:t>pero</a:t>
            </a:r>
            <a:r>
              <a:rPr lang="en-US" altLang="es-AR" sz="1400" dirty="0" smtClean="0"/>
              <a:t> no </a:t>
            </a:r>
            <a:r>
              <a:rPr lang="en-US" altLang="es-AR" sz="1400" dirty="0" err="1" smtClean="0"/>
              <a:t>requerida</a:t>
            </a:r>
            <a:r>
              <a:rPr lang="en-US" altLang="es-AR" sz="1400" dirty="0" smtClean="0"/>
              <a:t> </a:t>
            </a:r>
            <a:r>
              <a:rPr lang="en-US" altLang="es-AR" sz="1400" dirty="0" err="1" smtClean="0"/>
              <a:t>necesariamente</a:t>
            </a:r>
            <a:r>
              <a:rPr lang="en-US" altLang="es-AR" sz="1400" dirty="0" smtClean="0"/>
              <a:t> </a:t>
            </a:r>
            <a:r>
              <a:rPr lang="en-US" altLang="es-AR" sz="1400" dirty="0" err="1" smtClean="0"/>
              <a:t>por</a:t>
            </a:r>
            <a:r>
              <a:rPr lang="en-US" altLang="es-AR" sz="1400" dirty="0" smtClean="0"/>
              <a:t> </a:t>
            </a:r>
            <a:r>
              <a:rPr lang="en-US" altLang="es-AR" sz="1400" dirty="0" err="1" smtClean="0"/>
              <a:t>éstas</a:t>
            </a:r>
            <a:r>
              <a:rPr lang="en-US" altLang="es-AR" sz="1400" dirty="0" smtClean="0"/>
              <a:t>)</a:t>
            </a:r>
          </a:p>
        </p:txBody>
      </p:sp>
      <p:sp>
        <p:nvSpPr>
          <p:cNvPr id="21508" name="Slide Number Placeholder 14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553200" y="6356350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B62DFE0-0455-4D13-B2DF-04AAFE2A5E8B}" type="slidenum">
              <a:rPr lang="en-US" altLang="es-AR" sz="900" smtClean="0">
                <a:solidFill>
                  <a:schemeClr val="tx2"/>
                </a:solidFill>
              </a:rPr>
              <a:pPr eaLnBrk="1" hangingPunct="1"/>
              <a:t>6</a:t>
            </a:fld>
            <a:endParaRPr lang="en-US" altLang="es-AR" sz="900" smtClean="0">
              <a:solidFill>
                <a:schemeClr val="tx2"/>
              </a:solidFill>
            </a:endParaRPr>
          </a:p>
        </p:txBody>
      </p:sp>
      <p:grpSp>
        <p:nvGrpSpPr>
          <p:cNvPr id="21511" name="Group 3"/>
          <p:cNvGrpSpPr>
            <a:grpSpLocks/>
          </p:cNvGrpSpPr>
          <p:nvPr/>
        </p:nvGrpSpPr>
        <p:grpSpPr bwMode="auto">
          <a:xfrm>
            <a:off x="393700" y="1376364"/>
            <a:ext cx="3997325" cy="4932364"/>
            <a:chOff x="393698" y="1376361"/>
            <a:chExt cx="3997326" cy="4932364"/>
          </a:xfrm>
        </p:grpSpPr>
        <p:sp>
          <p:nvSpPr>
            <p:cNvPr id="21515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93699" y="1376361"/>
              <a:ext cx="3997325" cy="249678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>
              <a:lvl1pPr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en-US" altLang="es-A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516" name="Text Placeholder 5"/>
            <p:cNvSpPr txBox="1">
              <a:spLocks/>
            </p:cNvSpPr>
            <p:nvPr/>
          </p:nvSpPr>
          <p:spPr bwMode="auto">
            <a:xfrm>
              <a:off x="393698" y="1626041"/>
              <a:ext cx="3997325" cy="4682684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6000" tIns="36000" rIns="36000" bIns="36000"/>
            <a:lstStyle>
              <a:lvl1pPr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179388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358775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539750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ACTIVOS NO CORRIENTES</a:t>
              </a: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ACTIVOS CORRIENTES</a:t>
              </a: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 TOTAL DEL ACTIVO</a:t>
              </a: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512" name="Group 22"/>
          <p:cNvGrpSpPr>
            <a:grpSpLocks/>
          </p:cNvGrpSpPr>
          <p:nvPr/>
        </p:nvGrpSpPr>
        <p:grpSpPr bwMode="auto">
          <a:xfrm>
            <a:off x="4751388" y="1376363"/>
            <a:ext cx="3997325" cy="4932362"/>
            <a:chOff x="393698" y="1376361"/>
            <a:chExt cx="3997326" cy="4932364"/>
          </a:xfrm>
        </p:grpSpPr>
        <p:sp>
          <p:nvSpPr>
            <p:cNvPr id="21513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3699" y="1376361"/>
              <a:ext cx="3997325" cy="249678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>
              <a:lvl1pPr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endParaRPr lang="en-US" altLang="es-A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514" name="Text Placeholder 5"/>
            <p:cNvSpPr txBox="1">
              <a:spLocks/>
            </p:cNvSpPr>
            <p:nvPr/>
          </p:nvSpPr>
          <p:spPr bwMode="auto">
            <a:xfrm>
              <a:off x="393698" y="1626041"/>
              <a:ext cx="3997325" cy="4682684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6000" tIns="36000" rIns="36000" bIns="36000"/>
            <a:lstStyle>
              <a:lvl1pPr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179388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358775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539750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PATRIMONIO NETO (</a:t>
              </a:r>
              <a:r>
                <a:rPr lang="en-US" altLang="es-AR" sz="1600" dirty="0" smtClean="0">
                  <a:solidFill>
                    <a:schemeClr val="tx2"/>
                  </a:solidFill>
                </a:rPr>
                <a:t>o </a:t>
              </a:r>
              <a:r>
                <a:rPr lang="en-US" altLang="es-AR" sz="1600" dirty="0" err="1" smtClean="0">
                  <a:solidFill>
                    <a:schemeClr val="tx2"/>
                  </a:solidFill>
                </a:rPr>
                <a:t>Patrimonio</a:t>
              </a:r>
              <a:r>
                <a:rPr lang="en-US" altLang="es-AR" sz="1600" dirty="0" smtClean="0">
                  <a:solidFill>
                    <a:schemeClr val="tx2"/>
                  </a:solidFill>
                </a:rPr>
                <a:t>)</a:t>
              </a: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PASIVOS NO CORRIENTES</a:t>
              </a: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PASIVOS CORRIENTES</a:t>
              </a: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 smtClean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altLang="es-AR" sz="2000" dirty="0">
                <a:solidFill>
                  <a:schemeClr val="tx2"/>
                </a:solidFill>
              </a:endParaRPr>
            </a:p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r>
                <a:rPr lang="en-US" altLang="es-AR" sz="2000" dirty="0" smtClean="0">
                  <a:solidFill>
                    <a:schemeClr val="tx2"/>
                  </a:solidFill>
                </a:rPr>
                <a:t>TOTAL DEL PASIVO Y P.NETO</a:t>
              </a:r>
              <a:endParaRPr lang="en-US" altLang="es-AR" sz="2000" dirty="0">
                <a:solidFill>
                  <a:schemeClr val="tx2"/>
                </a:solidFill>
              </a:endParaRPr>
            </a:p>
          </p:txBody>
        </p:sp>
      </p:grpSp>
      <p:pic>
        <p:nvPicPr>
          <p:cNvPr id="12" name="Picture 5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13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5134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67544" y="1700807"/>
            <a:ext cx="8229600" cy="4824535"/>
          </a:xfrm>
        </p:spPr>
        <p:txBody>
          <a:bodyPr>
            <a:normAutofit fontScale="47500" lnSpcReduction="20000"/>
          </a:bodyPr>
          <a:lstStyle/>
          <a:p>
            <a:pPr marL="18288" indent="0">
              <a:buNone/>
            </a:pPr>
            <a:r>
              <a:rPr lang="es-AR" sz="3600" b="1" dirty="0" smtClean="0"/>
              <a:t>RUBROS DEL ACTIVO</a:t>
            </a:r>
          </a:p>
          <a:p>
            <a:pPr marL="18288" indent="0">
              <a:buNone/>
            </a:pPr>
            <a:endParaRPr lang="es-AR" sz="3600" b="1" dirty="0"/>
          </a:p>
          <a:p>
            <a:pPr marL="589788" indent="-571500">
              <a:buFontTx/>
              <a:buChar char="-"/>
            </a:pPr>
            <a:r>
              <a:rPr lang="es-AR" sz="3600" b="1" dirty="0" smtClean="0"/>
              <a:t>Caja y Bancos</a:t>
            </a:r>
          </a:p>
          <a:p>
            <a:pPr marL="589788" indent="-571500">
              <a:buFontTx/>
              <a:buChar char="-"/>
            </a:pPr>
            <a:r>
              <a:rPr lang="es-AR" sz="3600" b="1" dirty="0" smtClean="0"/>
              <a:t>Créditos (cuentas a cobrar)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/>
              <a:t>Créditos por ventas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/>
              <a:t>Otros créditos</a:t>
            </a:r>
          </a:p>
          <a:p>
            <a:pPr marL="589788" indent="-571500">
              <a:buFontTx/>
              <a:buChar char="-"/>
            </a:pPr>
            <a:r>
              <a:rPr lang="es-AR" sz="3600" b="1" dirty="0" smtClean="0"/>
              <a:t>Bienes de cambio (inventarios)</a:t>
            </a:r>
          </a:p>
          <a:p>
            <a:pPr marL="589788" indent="-571500">
              <a:buFontTx/>
              <a:buChar char="-"/>
            </a:pPr>
            <a:r>
              <a:rPr lang="es-AR" sz="3600" b="1" dirty="0" smtClean="0"/>
              <a:t>Bienes de uso (propiedades, planta y equipo)</a:t>
            </a:r>
          </a:p>
          <a:p>
            <a:pPr marL="589788" indent="-571500">
              <a:buFontTx/>
              <a:buChar char="-"/>
            </a:pPr>
            <a:r>
              <a:rPr lang="es-AR" sz="3600" b="1" dirty="0" smtClean="0"/>
              <a:t>Inversiones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/>
              <a:t>Participaciones en otras sociedades</a:t>
            </a:r>
          </a:p>
          <a:p>
            <a:pPr marL="989838" lvl="1" indent="-571500">
              <a:buFontTx/>
              <a:buChar char="-"/>
            </a:pPr>
            <a:r>
              <a:rPr lang="es-AR" b="1" dirty="0" smtClean="0"/>
              <a:t>Otras inversiones</a:t>
            </a:r>
          </a:p>
          <a:p>
            <a:pPr marL="589788" indent="-571500">
              <a:buFontTx/>
              <a:buChar char="-"/>
            </a:pPr>
            <a:r>
              <a:rPr lang="es-AR" sz="3600" b="1" dirty="0" smtClean="0"/>
              <a:t>Bienes intangibles</a:t>
            </a:r>
          </a:p>
          <a:p>
            <a:pPr marL="589788" indent="-571500">
              <a:buFontTx/>
              <a:buChar char="-"/>
            </a:pPr>
            <a:r>
              <a:rPr lang="es-AR" sz="3600" b="1" dirty="0" smtClean="0"/>
              <a:t>Activos biológicos</a:t>
            </a:r>
          </a:p>
          <a:p>
            <a:pPr marL="589788" indent="-571500">
              <a:buFontTx/>
              <a:buChar char="-"/>
            </a:pPr>
            <a:r>
              <a:rPr lang="es-AR" sz="3600" b="1" dirty="0" smtClean="0"/>
              <a:t>Llave de negocio</a:t>
            </a:r>
          </a:p>
          <a:p>
            <a:pPr marL="589788" indent="-571500">
              <a:buFontTx/>
              <a:buChar char="-"/>
            </a:pPr>
            <a:r>
              <a:rPr lang="es-AR" sz="3600" b="1" dirty="0" smtClean="0"/>
              <a:t>Otros activos</a:t>
            </a:r>
          </a:p>
          <a:p>
            <a:pPr marL="18288" indent="0">
              <a:buNone/>
            </a:pPr>
            <a:endParaRPr lang="es-AR" sz="3600" b="1" dirty="0" smtClean="0"/>
          </a:p>
          <a:p>
            <a:pPr marL="18288" indent="0">
              <a:buNone/>
            </a:pPr>
            <a:r>
              <a:rPr lang="es-AR" sz="3600" b="1" dirty="0" smtClean="0"/>
              <a:t>Los Derechos de Uso (alquileres) pueden presentarse en un rubro aparte o dentro del rubro que le correspondería al activo subyacente, con indicación de que se trata de Derechos de Uso (ver Unidad 6 parte 2)</a:t>
            </a:r>
          </a:p>
          <a:p>
            <a:pPr marL="589788" indent="-571500">
              <a:buFontTx/>
              <a:buChar char="-"/>
            </a:pPr>
            <a:endParaRPr lang="es-AR" sz="4000" dirty="0" smtClean="0"/>
          </a:p>
          <a:p>
            <a:pPr marL="18288" indent="0">
              <a:buNone/>
            </a:pPr>
            <a:endParaRPr lang="es-AR" sz="4000" dirty="0" smtClean="0"/>
          </a:p>
          <a:p>
            <a:endParaRPr lang="es-ES_tradnl" dirty="0" smtClean="0"/>
          </a:p>
          <a:p>
            <a:endParaRPr lang="es-AR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7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Rectángulo"/>
          <p:cNvSpPr/>
          <p:nvPr/>
        </p:nvSpPr>
        <p:spPr>
          <a:xfrm>
            <a:off x="1639974" y="1052736"/>
            <a:ext cx="574490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_tradnl" sz="2800" b="1" dirty="0" smtClean="0"/>
              <a:t>ESTADO DE SITUACIÓN PATRIMONIAL</a:t>
            </a:r>
            <a:endParaRPr lang="es-AR" sz="2800" b="1" dirty="0"/>
          </a:p>
        </p:txBody>
      </p:sp>
      <p:sp>
        <p:nvSpPr>
          <p:cNvPr id="12" name="11 Rectángulo"/>
          <p:cNvSpPr/>
          <p:nvPr/>
        </p:nvSpPr>
        <p:spPr>
          <a:xfrm>
            <a:off x="3923928" y="26064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r"/>
            <a:r>
              <a:rPr lang="es-ES_tradnl" sz="1200" dirty="0" smtClean="0"/>
              <a:t>Naturaleza, objetivos y metodología de la información contab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5" name="4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8</a:t>
            </a:fld>
            <a:endParaRPr lang="es-AR" dirty="0"/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395536" y="69269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2800" b="1" dirty="0" smtClean="0">
                <a:latin typeface="+mj-lt"/>
                <a:ea typeface="+mj-ea"/>
                <a:cs typeface="+mj-cs"/>
              </a:rPr>
              <a:t>CRÉDITOS  (RT Argentinas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2800" b="1" dirty="0" smtClean="0">
                <a:latin typeface="+mj-lt"/>
                <a:ea typeface="+mj-ea"/>
                <a:cs typeface="+mj-cs"/>
              </a:rPr>
              <a:t>CUENTAS A COBRAR (NIIF)</a:t>
            </a:r>
            <a:br>
              <a:rPr lang="es-AR" sz="2800" b="1" dirty="0" smtClean="0">
                <a:latin typeface="+mj-lt"/>
                <a:ea typeface="+mj-ea"/>
                <a:cs typeface="+mj-cs"/>
              </a:rPr>
            </a:br>
            <a:endParaRPr kumimoji="0" lang="es-AR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611560" y="1340768"/>
            <a:ext cx="7848872" cy="541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endParaRPr lang="es-AR" dirty="0" smtClean="0"/>
          </a:p>
          <a:p>
            <a:pPr marL="342900" indent="-342900"/>
            <a:r>
              <a:rPr lang="es-ES" dirty="0" smtClean="0"/>
              <a:t>     </a:t>
            </a:r>
          </a:p>
          <a:p>
            <a:pPr marL="342900" indent="-342900"/>
            <a:r>
              <a:rPr lang="es-ES" dirty="0" smtClean="0"/>
              <a:t> Son derechos que el ente posee contra terceros para percibir sumas de dinero u otros bienes o servicios (siempre que no respondan a las características de otro rubro del activo).</a:t>
            </a:r>
          </a:p>
          <a:p>
            <a:pPr marL="342900" indent="-342900"/>
            <a:endParaRPr lang="es-ES" dirty="0"/>
          </a:p>
          <a:p>
            <a:pPr marL="342900" indent="-342900"/>
            <a:r>
              <a:rPr lang="es-ES" dirty="0" smtClean="0"/>
              <a:t>       Los </a:t>
            </a:r>
            <a:r>
              <a:rPr lang="es-ES" b="1" dirty="0" smtClean="0"/>
              <a:t>créditos por ventas </a:t>
            </a:r>
            <a:r>
              <a:rPr lang="es-ES" dirty="0" smtClean="0"/>
              <a:t>(de bienes o servicios) correspondientes a las actividades habituales del ente deben discriminarse de los que no tengan ese origen.</a:t>
            </a:r>
          </a:p>
          <a:p>
            <a:pPr marL="342900" indent="-342900"/>
            <a:endParaRPr lang="es-ES" dirty="0" smtClean="0"/>
          </a:p>
          <a:p>
            <a:pPr marL="342900" indent="-342900"/>
            <a:r>
              <a:rPr lang="es-ES" b="1" dirty="0"/>
              <a:t> </a:t>
            </a:r>
            <a:r>
              <a:rPr lang="es-ES" b="1" dirty="0" smtClean="0"/>
              <a:t>      Otros créditos </a:t>
            </a:r>
            <a:r>
              <a:rPr lang="es-ES" dirty="0" smtClean="0"/>
              <a:t>son aquéllos que no son créditos por ventas.</a:t>
            </a:r>
          </a:p>
          <a:p>
            <a:pPr marL="342900" indent="-342900"/>
            <a:endParaRPr lang="es-ES" dirty="0"/>
          </a:p>
          <a:p>
            <a:pPr marL="342900" indent="-342900" algn="just"/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658337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5" name="4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9</a:t>
            </a:fld>
            <a:endParaRPr lang="es-AR" dirty="0"/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395536" y="69269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2800" b="1" dirty="0" smtClean="0">
                <a:latin typeface="+mj-lt"/>
                <a:ea typeface="+mj-ea"/>
                <a:cs typeface="+mj-cs"/>
              </a:rPr>
              <a:t>BIENES DE CAMBIO  (RT Argentinas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2800" b="1" dirty="0" smtClean="0">
                <a:latin typeface="+mj-lt"/>
                <a:ea typeface="+mj-ea"/>
                <a:cs typeface="+mj-cs"/>
              </a:rPr>
              <a:t>INVENTARIOS (NIIF)</a:t>
            </a:r>
            <a:br>
              <a:rPr lang="es-AR" sz="2800" b="1" dirty="0" smtClean="0">
                <a:latin typeface="+mj-lt"/>
                <a:ea typeface="+mj-ea"/>
                <a:cs typeface="+mj-cs"/>
              </a:rPr>
            </a:br>
            <a:endParaRPr kumimoji="0" lang="es-AR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899592" y="1196752"/>
            <a:ext cx="7560840" cy="6832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s-AR" dirty="0" smtClean="0"/>
          </a:p>
          <a:p>
            <a:pPr marL="342900" indent="-342900" algn="ctr"/>
            <a:r>
              <a:rPr lang="es-AR" dirty="0" smtClean="0"/>
              <a:t>Definición según NIC 2. </a:t>
            </a:r>
            <a:r>
              <a:rPr lang="es-AR" dirty="0"/>
              <a:t>L</a:t>
            </a:r>
            <a:r>
              <a:rPr lang="es-AR" dirty="0" smtClean="0"/>
              <a:t>os Inventarios son activos:</a:t>
            </a:r>
          </a:p>
          <a:p>
            <a:pPr marL="342900" indent="-342900" algn="ctr"/>
            <a:endParaRPr lang="es-AR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es-AR" dirty="0" smtClean="0"/>
              <a:t>Poseídos para ser vendidos en el curso normal de la operación;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AR" dirty="0" smtClean="0"/>
              <a:t>En proceso de producción con vistas a esa venta; o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AR" dirty="0" smtClean="0"/>
              <a:t>En forma de materiales o suministros, para ser consumidos en el proceso de producción, o en la prestación de servicios</a:t>
            </a:r>
          </a:p>
          <a:p>
            <a:pPr marL="342900" indent="-342900" algn="ctr"/>
            <a:endParaRPr lang="es-AR" sz="2000" dirty="0" smtClean="0"/>
          </a:p>
          <a:p>
            <a:pPr marL="342900" indent="-342900"/>
            <a:r>
              <a:rPr lang="es-AR" b="1" i="1" dirty="0" smtClean="0"/>
              <a:t>En el rubro se incluyen:</a:t>
            </a:r>
          </a:p>
          <a:p>
            <a:pPr marL="342900" indent="-342900">
              <a:buFont typeface="+mj-lt"/>
              <a:buAutoNum type="arabicPeriod"/>
            </a:pPr>
            <a:r>
              <a:rPr lang="es-AR" dirty="0" smtClean="0"/>
              <a:t>En empresa comercial: 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s-AR" dirty="0" smtClean="0"/>
              <a:t>Mercaderías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s-AR" dirty="0" smtClean="0"/>
              <a:t> Anticipo a proveedores.  (En NIIF va en Otros Créditos)</a:t>
            </a:r>
          </a:p>
          <a:p>
            <a:pPr marL="342900" indent="-342900">
              <a:buFont typeface="+mj-lt"/>
              <a:buAutoNum type="arabicPeriod"/>
            </a:pPr>
            <a:r>
              <a:rPr lang="es-AR" dirty="0" smtClean="0"/>
              <a:t>En empresa industrial: 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s-AR" dirty="0" smtClean="0"/>
              <a:t>Materias Primas,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s-AR" dirty="0" smtClean="0"/>
              <a:t>Materiales,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s-AR" dirty="0" smtClean="0"/>
              <a:t>Productos en Proceso,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s-AR" dirty="0" smtClean="0"/>
              <a:t>Productos terminados,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es-AR" dirty="0" smtClean="0"/>
              <a:t>Anticipo a proveedores. (En NIIF va en Otros Créditos)</a:t>
            </a:r>
          </a:p>
          <a:p>
            <a:pPr marL="342900" indent="-342900">
              <a:buFont typeface="+mj-lt"/>
              <a:buAutoNum type="arabicPeriod"/>
            </a:pPr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sz="2000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pPr marL="342900" indent="-342900">
              <a:buFont typeface="+mj-lt"/>
              <a:buAutoNum type="arabicPeriod"/>
            </a:pPr>
            <a:endParaRPr lang="es-AR" dirty="0" smtClean="0"/>
          </a:p>
          <a:p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2822733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Wp6TiXa06CQMVhTsMj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3YvZB.hU2Gpqve0.3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IRBIEK60.KoAHjZAti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UwuWwJiUeigC4LSRkJ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JKcoVkJEWW8w4zguxl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SIOU6bjU.hI9QVCRJd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A_P_vCUkq54.9ovhA_3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6NosceY0.89_utCO6q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yix4POl0WyLS_lkb.f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j_lIYnw02O29YM_GeC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Ou3O6Lx0eCn.g5c_k.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BKnYMISkOGpBjUaMQ6s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ccZGK8Kk6MvJcd1zRJ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AVKv2A9EasiL_IQtS.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Ex9vHChkmzFNDObZio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9"/>
  <p:tag name="ELAPSEDTIME" val="289,64"/>
  <p:tag name="ARTICULATE_SLIDE_PAUSE" val="1"/>
  <p:tag name="ARTICULATE_NAV_LEVEL" val="1"/>
  <p:tag name="ARTICULATE_SLIDE_PRESENTER" val="Domingo M. Marchese"/>
  <p:tag name="ARTICULATE_SLIDE_PRESENTER_GUID" val="611A7D932AC1"/>
  <p:tag name="ARTICULATE_PLAYLIST_ID" val="-1"/>
  <p:tag name="ARTICULATE_LOCK_SLIDE" val="0"/>
  <p:tag name="ARTICULATE_SLIDE_GUID" val="d243d1f6-eadc-43c7-ad77-9b14dcefd319"/>
  <p:tag name="ARTICULATE_SLIDE_NAV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9"/>
  <p:tag name="ELAPSEDTIME" val="289,64"/>
  <p:tag name="ARTICULATE_SLIDE_PAUSE" val="1"/>
  <p:tag name="ARTICULATE_NAV_LEVEL" val="1"/>
  <p:tag name="ARTICULATE_SLIDE_PRESENTER" val="Domingo M. Marchese"/>
  <p:tag name="ARTICULATE_SLIDE_PRESENTER_GUID" val="611A7D932AC1"/>
  <p:tag name="ARTICULATE_PLAYLIST_ID" val="-1"/>
  <p:tag name="ARTICULATE_LOCK_SLIDE" val="0"/>
  <p:tag name="ARTICULATE_SLIDE_GUID" val="d243d1f6-eadc-43c7-ad77-9b14dcefd319"/>
  <p:tag name="ARTICULATE_SLIDE_NAV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9"/>
  <p:tag name="ELAPSEDTIME" val="289,64"/>
  <p:tag name="ARTICULATE_SLIDE_PAUSE" val="1"/>
  <p:tag name="ARTICULATE_NAV_LEVEL" val="1"/>
  <p:tag name="ARTICULATE_SLIDE_PRESENTER" val="Domingo M. Marchese"/>
  <p:tag name="ARTICULATE_SLIDE_PRESENTER_GUID" val="611A7D932AC1"/>
  <p:tag name="ARTICULATE_PLAYLIST_ID" val="-1"/>
  <p:tag name="ARTICULATE_LOCK_SLIDE" val="0"/>
  <p:tag name="ARTICULATE_SLIDE_GUID" val="d243d1f6-eadc-43c7-ad77-9b14dcefd319"/>
  <p:tag name="ARTICULATE_SLIDE_NAV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Wp6TiXa06CQMVhTsMj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9"/>
  <p:tag name="ELAPSEDTIME" val="289,64"/>
  <p:tag name="ARTICULATE_SLIDE_PAUSE" val="1"/>
  <p:tag name="ARTICULATE_NAV_LEVEL" val="1"/>
  <p:tag name="ARTICULATE_SLIDE_PRESENTER" val="Domingo M. Marchese"/>
  <p:tag name="ARTICULATE_SLIDE_PRESENTER_GUID" val="611A7D932AC1"/>
  <p:tag name="ARTICULATE_PLAYLIST_ID" val="-1"/>
  <p:tag name="ARTICULATE_LOCK_SLIDE" val="0"/>
  <p:tag name="ARTICULATE_SLIDE_GUID" val="d243d1f6-eadc-43c7-ad77-9b14dcefd319"/>
  <p:tag name="ARTICULATE_SLIDE_NAV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9"/>
  <p:tag name="ELAPSEDTIME" val="289,64"/>
  <p:tag name="ARTICULATE_SLIDE_PAUSE" val="1"/>
  <p:tag name="ARTICULATE_NAV_LEVEL" val="1"/>
  <p:tag name="ARTICULATE_SLIDE_PRESENTER" val="Domingo M. Marchese"/>
  <p:tag name="ARTICULATE_SLIDE_PRESENTER_GUID" val="611A7D932AC1"/>
  <p:tag name="ARTICULATE_PLAYLIST_ID" val="-1"/>
  <p:tag name="ARTICULATE_LOCK_SLIDE" val="0"/>
  <p:tag name="ARTICULATE_SLIDE_GUID" val="d243d1f6-eadc-43c7-ad77-9b14dcefd319"/>
  <p:tag name="ARTICULATE_SLIDE_NAV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9"/>
  <p:tag name="ELAPSEDTIME" val="289,64"/>
  <p:tag name="ARTICULATE_SLIDE_PAUSE" val="1"/>
  <p:tag name="ARTICULATE_NAV_LEVEL" val="1"/>
  <p:tag name="ARTICULATE_SLIDE_PRESENTER" val="Domingo M. Marchese"/>
  <p:tag name="ARTICULATE_SLIDE_PRESENTER_GUID" val="611A7D932AC1"/>
  <p:tag name="ARTICULATE_PLAYLIST_ID" val="-1"/>
  <p:tag name="ARTICULATE_LOCK_SLIDE" val="0"/>
  <p:tag name="ARTICULATE_SLIDE_GUID" val="d243d1f6-eadc-43c7-ad77-9b14dcefd319"/>
  <p:tag name="ARTICULATE_SLIDE_NAV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9"/>
  <p:tag name="ELAPSEDTIME" val="289,64"/>
  <p:tag name="ARTICULATE_SLIDE_PAUSE" val="1"/>
  <p:tag name="ARTICULATE_NAV_LEVEL" val="1"/>
  <p:tag name="ARTICULATE_SLIDE_PRESENTER" val="Domingo M. Marchese"/>
  <p:tag name="ARTICULATE_SLIDE_PRESENTER_GUID" val="611A7D932AC1"/>
  <p:tag name="ARTICULATE_PLAYLIST_ID" val="-1"/>
  <p:tag name="ARTICULATE_LOCK_SLIDE" val="0"/>
  <p:tag name="ARTICULATE_SLIDE_GUID" val="d243d1f6-eadc-43c7-ad77-9b14dcefd319"/>
  <p:tag name="ARTICULATE_SLIDE_NAV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9"/>
  <p:tag name="ELAPSEDTIME" val="289,64"/>
  <p:tag name="ARTICULATE_SLIDE_PAUSE" val="1"/>
  <p:tag name="ARTICULATE_NAV_LEVEL" val="1"/>
  <p:tag name="ARTICULATE_SLIDE_PRESENTER" val="Domingo M. Marchese"/>
  <p:tag name="ARTICULATE_SLIDE_PRESENTER_GUID" val="611A7D932AC1"/>
  <p:tag name="ARTICULATE_PLAYLIST_ID" val="-1"/>
  <p:tag name="ARTICULATE_LOCK_SLIDE" val="0"/>
  <p:tag name="ARTICULATE_SLIDE_GUID" val="d243d1f6-eadc-43c7-ad77-9b14dcefd319"/>
  <p:tag name="ARTICULATE_SLIDE_NAV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Wp6TiXa06CQMVhTsMj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72</TotalTime>
  <Words>1812</Words>
  <Application>Microsoft Office PowerPoint</Application>
  <PresentationFormat>Presentación en pantalla (4:3)</PresentationFormat>
  <Paragraphs>478</Paragraphs>
  <Slides>34</Slides>
  <Notes>14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4</vt:i4>
      </vt:variant>
    </vt:vector>
  </HeadingPairs>
  <TitlesOfParts>
    <vt:vector size="42" baseType="lpstr">
      <vt:lpstr>ＭＳ Ｐゴシック</vt:lpstr>
      <vt:lpstr>Arial</vt:lpstr>
      <vt:lpstr>Calibri</vt:lpstr>
      <vt:lpstr>Lucida Fax</vt:lpstr>
      <vt:lpstr>Times New Roman</vt:lpstr>
      <vt:lpstr>Wingdings</vt:lpstr>
      <vt:lpstr>Tema de Office</vt:lpstr>
      <vt:lpstr>think-cell Slide</vt:lpstr>
      <vt:lpstr>Presentación de PowerPoint</vt:lpstr>
      <vt:lpstr>LA REGISTRACIÓN CONTABLE</vt:lpstr>
      <vt:lpstr>ESTADO DE SITUACIÓN PATRIMONIAL o BALANCE GENERAL   (NIIF: Estado de Situación Financiera) </vt:lpstr>
      <vt:lpstr>ESTADO DE RESULTADOS   </vt:lpstr>
      <vt:lpstr> Estructura del Estado de Situación Patrimonial Modalidad argentina (reflejada en las normas argentinas)</vt:lpstr>
      <vt:lpstr> Estado de SituaciónPatrimonial (o de situación financiera)  Modalidad europea (adoptada por algunas empresas que aplican las normas internacionales, pero no requerida necesariamente por éstas)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Integración del ESP con el ER</vt:lpstr>
      <vt:lpstr>Estructura del Estado de Resultados</vt:lpstr>
      <vt:lpstr>Presentación de PowerPoint</vt:lpstr>
      <vt:lpstr>Presentación de PowerPoint</vt:lpstr>
      <vt:lpstr>Ejercicio – Periodicidad</vt:lpstr>
      <vt:lpstr>Estados contables consolidados, separados, individuales y combinad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ilagros</dc:creator>
  <cp:lastModifiedBy>Fermin</cp:lastModifiedBy>
  <cp:revision>127</cp:revision>
  <dcterms:created xsi:type="dcterms:W3CDTF">2013-08-06T01:05:53Z</dcterms:created>
  <dcterms:modified xsi:type="dcterms:W3CDTF">2022-03-21T17:16:17Z</dcterms:modified>
</cp:coreProperties>
</file>